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4.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6.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7.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xml" ContentType="application/vnd.openxmlformats-officedocument.presentationml.tags+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9.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10.xml" ContentType="application/vnd.openxmlformats-officedocument.presentationml.notesSlide+xml"/>
  <Override PartName="/ppt/tags/tag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2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34.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notesSlides/notesSlide35.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tags/tag86.xml" ContentType="application/vnd.openxmlformats-officedocument.presentationml.tags+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5" r:id="rId4"/>
    <p:sldMasterId id="2147483708" r:id="rId5"/>
    <p:sldMasterId id="2147483712" r:id="rId6"/>
    <p:sldMasterId id="2147483731" r:id="rId7"/>
    <p:sldMasterId id="2147483750" r:id="rId8"/>
    <p:sldMasterId id="2147483774" r:id="rId9"/>
    <p:sldMasterId id="2147483793" r:id="rId10"/>
    <p:sldMasterId id="2147483818" r:id="rId11"/>
  </p:sldMasterIdLst>
  <p:notesMasterIdLst>
    <p:notesMasterId r:id="rId64"/>
  </p:notesMasterIdLst>
  <p:sldIdLst>
    <p:sldId id="256" r:id="rId12"/>
    <p:sldId id="494" r:id="rId13"/>
    <p:sldId id="523" r:id="rId14"/>
    <p:sldId id="493" r:id="rId15"/>
    <p:sldId id="524" r:id="rId16"/>
    <p:sldId id="525" r:id="rId17"/>
    <p:sldId id="496" r:id="rId18"/>
    <p:sldId id="489" r:id="rId19"/>
    <p:sldId id="490" r:id="rId20"/>
    <p:sldId id="491" r:id="rId21"/>
    <p:sldId id="492" r:id="rId22"/>
    <p:sldId id="449" r:id="rId23"/>
    <p:sldId id="517" r:id="rId24"/>
    <p:sldId id="541" r:id="rId25"/>
    <p:sldId id="542" r:id="rId26"/>
    <p:sldId id="516" r:id="rId27"/>
    <p:sldId id="545" r:id="rId28"/>
    <p:sldId id="518" r:id="rId29"/>
    <p:sldId id="519" r:id="rId30"/>
    <p:sldId id="446" r:id="rId31"/>
    <p:sldId id="480" r:id="rId32"/>
    <p:sldId id="531" r:id="rId33"/>
    <p:sldId id="532" r:id="rId34"/>
    <p:sldId id="533" r:id="rId35"/>
    <p:sldId id="501" r:id="rId36"/>
    <p:sldId id="502" r:id="rId37"/>
    <p:sldId id="503" r:id="rId38"/>
    <p:sldId id="504" r:id="rId39"/>
    <p:sldId id="505" r:id="rId40"/>
    <p:sldId id="506" r:id="rId41"/>
    <p:sldId id="474" r:id="rId42"/>
    <p:sldId id="534" r:id="rId43"/>
    <p:sldId id="535" r:id="rId44"/>
    <p:sldId id="536" r:id="rId45"/>
    <p:sldId id="537" r:id="rId46"/>
    <p:sldId id="538" r:id="rId47"/>
    <p:sldId id="539" r:id="rId48"/>
    <p:sldId id="507" r:id="rId49"/>
    <p:sldId id="456" r:id="rId50"/>
    <p:sldId id="434" r:id="rId51"/>
    <p:sldId id="417" r:id="rId52"/>
    <p:sldId id="521" r:id="rId53"/>
    <p:sldId id="509" r:id="rId54"/>
    <p:sldId id="520" r:id="rId55"/>
    <p:sldId id="508" r:id="rId56"/>
    <p:sldId id="543" r:id="rId57"/>
    <p:sldId id="544" r:id="rId58"/>
    <p:sldId id="498" r:id="rId59"/>
    <p:sldId id="499" r:id="rId60"/>
    <p:sldId id="512" r:id="rId61"/>
    <p:sldId id="546" r:id="rId62"/>
    <p:sldId id="396" r:id="rId63"/>
  </p:sldIdLst>
  <p:sldSz cx="9144000" cy="5143500" type="screen16x9"/>
  <p:notesSz cx="6881813" cy="9296400"/>
  <p:defaultTextStyle>
    <a:defPPr>
      <a:defRPr lang="en-US"/>
    </a:defPPr>
    <a:lvl1pPr marL="0" algn="l" defTabSz="914172" rtl="0" eaLnBrk="1" latinLnBrk="0" hangingPunct="1">
      <a:defRPr sz="1800" kern="1200">
        <a:solidFill>
          <a:schemeClr val="tx1"/>
        </a:solidFill>
        <a:latin typeface="+mn-lt"/>
        <a:ea typeface="+mn-ea"/>
        <a:cs typeface="+mn-cs"/>
      </a:defRPr>
    </a:lvl1pPr>
    <a:lvl2pPr marL="457086" algn="l" defTabSz="914172" rtl="0" eaLnBrk="1" latinLnBrk="0" hangingPunct="1">
      <a:defRPr sz="1800" kern="1200">
        <a:solidFill>
          <a:schemeClr val="tx1"/>
        </a:solidFill>
        <a:latin typeface="+mn-lt"/>
        <a:ea typeface="+mn-ea"/>
        <a:cs typeface="+mn-cs"/>
      </a:defRPr>
    </a:lvl2pPr>
    <a:lvl3pPr marL="914172" algn="l" defTabSz="914172" rtl="0" eaLnBrk="1" latinLnBrk="0" hangingPunct="1">
      <a:defRPr sz="1800" kern="1200">
        <a:solidFill>
          <a:schemeClr val="tx1"/>
        </a:solidFill>
        <a:latin typeface="+mn-lt"/>
        <a:ea typeface="+mn-ea"/>
        <a:cs typeface="+mn-cs"/>
      </a:defRPr>
    </a:lvl3pPr>
    <a:lvl4pPr marL="1371258" algn="l" defTabSz="914172" rtl="0" eaLnBrk="1" latinLnBrk="0" hangingPunct="1">
      <a:defRPr sz="1800" kern="1200">
        <a:solidFill>
          <a:schemeClr val="tx1"/>
        </a:solidFill>
        <a:latin typeface="+mn-lt"/>
        <a:ea typeface="+mn-ea"/>
        <a:cs typeface="+mn-cs"/>
      </a:defRPr>
    </a:lvl4pPr>
    <a:lvl5pPr marL="1828344" algn="l" defTabSz="914172" rtl="0" eaLnBrk="1" latinLnBrk="0" hangingPunct="1">
      <a:defRPr sz="1800" kern="1200">
        <a:solidFill>
          <a:schemeClr val="tx1"/>
        </a:solidFill>
        <a:latin typeface="+mn-lt"/>
        <a:ea typeface="+mn-ea"/>
        <a:cs typeface="+mn-cs"/>
      </a:defRPr>
    </a:lvl5pPr>
    <a:lvl6pPr marL="2285426" algn="l" defTabSz="914172" rtl="0" eaLnBrk="1" latinLnBrk="0" hangingPunct="1">
      <a:defRPr sz="1800" kern="1200">
        <a:solidFill>
          <a:schemeClr val="tx1"/>
        </a:solidFill>
        <a:latin typeface="+mn-lt"/>
        <a:ea typeface="+mn-ea"/>
        <a:cs typeface="+mn-cs"/>
      </a:defRPr>
    </a:lvl6pPr>
    <a:lvl7pPr marL="2742516" algn="l" defTabSz="914172" rtl="0" eaLnBrk="1" latinLnBrk="0" hangingPunct="1">
      <a:defRPr sz="1800" kern="1200">
        <a:solidFill>
          <a:schemeClr val="tx1"/>
        </a:solidFill>
        <a:latin typeface="+mn-lt"/>
        <a:ea typeface="+mn-ea"/>
        <a:cs typeface="+mn-cs"/>
      </a:defRPr>
    </a:lvl7pPr>
    <a:lvl8pPr marL="3199599" algn="l" defTabSz="914172" rtl="0" eaLnBrk="1" latinLnBrk="0" hangingPunct="1">
      <a:defRPr sz="1800" kern="1200">
        <a:solidFill>
          <a:schemeClr val="tx1"/>
        </a:solidFill>
        <a:latin typeface="+mn-lt"/>
        <a:ea typeface="+mn-ea"/>
        <a:cs typeface="+mn-cs"/>
      </a:defRPr>
    </a:lvl8pPr>
    <a:lvl9pPr marL="3656684" algn="l" defTabSz="91417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Windows Azure Virtual Machines" id="{FE20DDD3-4669-436B-A77F-D8D26C91C606}">
          <p14:sldIdLst>
            <p14:sldId id="256"/>
            <p14:sldId id="494"/>
            <p14:sldId id="523"/>
            <p14:sldId id="493"/>
            <p14:sldId id="524"/>
            <p14:sldId id="525"/>
          </p14:sldIdLst>
        </p14:section>
        <p14:section name="Getting Started" id="{2BCC7628-A617-4EDF-8099-41DA44B15764}">
          <p14:sldIdLst>
            <p14:sldId id="496"/>
            <p14:sldId id="489"/>
            <p14:sldId id="490"/>
            <p14:sldId id="491"/>
            <p14:sldId id="492"/>
            <p14:sldId id="449"/>
            <p14:sldId id="517"/>
            <p14:sldId id="541"/>
            <p14:sldId id="542"/>
            <p14:sldId id="516"/>
            <p14:sldId id="545"/>
            <p14:sldId id="518"/>
            <p14:sldId id="519"/>
            <p14:sldId id="446"/>
          </p14:sldIdLst>
        </p14:section>
        <p14:section name="VMs and Cloud Services" id="{C26850EA-9DA7-4AA5-987E-098D3DA2BC1F}">
          <p14:sldIdLst>
            <p14:sldId id="480"/>
            <p14:sldId id="531"/>
            <p14:sldId id="532"/>
            <p14:sldId id="533"/>
          </p14:sldIdLst>
        </p14:section>
        <p14:section name="VM Networking" id="{57C68DF5-5B9C-43B2-A0D6-FAF4996696D9}">
          <p14:sldIdLst>
            <p14:sldId id="501"/>
            <p14:sldId id="502"/>
            <p14:sldId id="503"/>
            <p14:sldId id="504"/>
            <p14:sldId id="505"/>
            <p14:sldId id="506"/>
          </p14:sldIdLst>
        </p14:section>
        <p14:section name="VM Availability" id="{40289317-D0C7-46D2-97F8-04A3DF020899}">
          <p14:sldIdLst>
            <p14:sldId id="474"/>
            <p14:sldId id="534"/>
            <p14:sldId id="535"/>
            <p14:sldId id="536"/>
            <p14:sldId id="537"/>
            <p14:sldId id="538"/>
            <p14:sldId id="539"/>
            <p14:sldId id="507"/>
          </p14:sldIdLst>
        </p14:section>
        <p14:section name="Virtual Networks" id="{E772A73C-6520-43F9-81BE-ACFBC8415231}">
          <p14:sldIdLst>
            <p14:sldId id="456"/>
            <p14:sldId id="434"/>
            <p14:sldId id="417"/>
            <p14:sldId id="521"/>
            <p14:sldId id="509"/>
            <p14:sldId id="520"/>
          </p14:sldIdLst>
        </p14:section>
        <p14:section name="IaaS and PaaS" id="{F3EDBBEE-9703-41A1-9613-6E2B5AA5B3FD}">
          <p14:sldIdLst>
            <p14:sldId id="508"/>
            <p14:sldId id="543"/>
            <p14:sldId id="544"/>
            <p14:sldId id="498"/>
            <p14:sldId id="499"/>
            <p14:sldId id="512"/>
            <p14:sldId id="546"/>
            <p14:sldId id="396"/>
          </p14:sldIdLst>
        </p14:section>
      </p14:sectionLst>
    </p:ext>
    <p:ext uri="{EFAFB233-063F-42B5-8137-9DF3F51BA10A}">
      <p15:sldGuideLst xmlns:p15="http://schemas.microsoft.com/office/powerpoint/2012/main">
        <p15:guide id="1" orient="horz" pos="2964">
          <p15:clr>
            <a:srgbClr val="A4A3A4"/>
          </p15:clr>
        </p15:guide>
        <p15:guide id="2" orient="horz" pos="516">
          <p15:clr>
            <a:srgbClr val="A4A3A4"/>
          </p15:clr>
        </p15:guide>
        <p15:guide id="3" orient="horz" pos="676">
          <p15:clr>
            <a:srgbClr val="A4A3A4"/>
          </p15:clr>
        </p15:guide>
        <p15:guide id="4" pos="2880">
          <p15:clr>
            <a:srgbClr val="A4A3A4"/>
          </p15:clr>
        </p15:guide>
        <p15:guide id="5" pos="240">
          <p15:clr>
            <a:srgbClr val="A4A3A4"/>
          </p15:clr>
        </p15:guide>
        <p15:guide id="6" pos="5520">
          <p15:clr>
            <a:srgbClr val="A4A3A4"/>
          </p15:clr>
        </p15:guide>
      </p15:sldGuideLst>
    </p:ext>
    <p:ext uri="{2D200454-40CA-4A62-9FC3-DE9A4176ACB9}">
      <p15:notesGuideLst xmlns:p15="http://schemas.microsoft.com/office/powerpoint/2012/main">
        <p15:guide id="1" orient="horz" pos="2928">
          <p15:clr>
            <a:srgbClr val="A4A3A4"/>
          </p15:clr>
        </p15:guide>
        <p15:guide id="2" pos="2167">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1" clrIdx="0"/>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4" autoAdjust="0"/>
    <p:restoredTop sz="78818" autoAdjust="0"/>
  </p:normalViewPr>
  <p:slideViewPr>
    <p:cSldViewPr snapToGrid="0" snapToObjects="1">
      <p:cViewPr varScale="1">
        <p:scale>
          <a:sx n="121" d="100"/>
          <a:sy n="121" d="100"/>
        </p:scale>
        <p:origin x="1350" y="96"/>
      </p:cViewPr>
      <p:guideLst>
        <p:guide orient="horz" pos="2964"/>
        <p:guide orient="horz" pos="516"/>
        <p:guide orient="horz" pos="676"/>
        <p:guide pos="2880"/>
        <p:guide pos="240"/>
        <p:guide pos="5520"/>
      </p:guideLst>
    </p:cSldViewPr>
  </p:slideViewPr>
  <p:outlineViewPr>
    <p:cViewPr>
      <p:scale>
        <a:sx n="33" d="100"/>
        <a:sy n="33" d="100"/>
      </p:scale>
      <p:origin x="42" y="8868"/>
    </p:cViewPr>
  </p:outlineViewPr>
  <p:notesTextViewPr>
    <p:cViewPr>
      <p:scale>
        <a:sx n="100" d="100"/>
        <a:sy n="100" d="100"/>
      </p:scale>
      <p:origin x="0" y="0"/>
    </p:cViewPr>
  </p:notesTextViewPr>
  <p:sorterViewPr>
    <p:cViewPr>
      <p:scale>
        <a:sx n="100" d="100"/>
        <a:sy n="100" d="100"/>
      </p:scale>
      <p:origin x="0" y="30"/>
    </p:cViewPr>
  </p:sorterViewPr>
  <p:notesViewPr>
    <p:cSldViewPr snapToGrid="0" snapToObjects="1">
      <p:cViewPr varScale="1">
        <p:scale>
          <a:sx n="55" d="100"/>
          <a:sy n="55" d="100"/>
        </p:scale>
        <p:origin x="-2514" y="-102"/>
      </p:cViewPr>
      <p:guideLst>
        <p:guide orient="horz" pos="2928"/>
        <p:guide pos="2167"/>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5.xml"/><Relationship Id="rId21" Type="http://schemas.openxmlformats.org/officeDocument/2006/relationships/slide" Target="slides/slide10.xml"/><Relationship Id="rId42" Type="http://schemas.openxmlformats.org/officeDocument/2006/relationships/slide" Target="slides/slide31.xml"/><Relationship Id="rId47" Type="http://schemas.openxmlformats.org/officeDocument/2006/relationships/slide" Target="slides/slide36.xml"/><Relationship Id="rId63" Type="http://schemas.openxmlformats.org/officeDocument/2006/relationships/slide" Target="slides/slide52.xml"/><Relationship Id="rId68"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5.xml"/><Relationship Id="rId29" Type="http://schemas.openxmlformats.org/officeDocument/2006/relationships/slide" Target="slides/slide18.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slide" Target="slides/slide26.xml"/><Relationship Id="rId40" Type="http://schemas.openxmlformats.org/officeDocument/2006/relationships/slide" Target="slides/slide29.xml"/><Relationship Id="rId45" Type="http://schemas.openxmlformats.org/officeDocument/2006/relationships/slide" Target="slides/slide34.xml"/><Relationship Id="rId53" Type="http://schemas.openxmlformats.org/officeDocument/2006/relationships/slide" Target="slides/slide42.xml"/><Relationship Id="rId58" Type="http://schemas.openxmlformats.org/officeDocument/2006/relationships/slide" Target="slides/slide47.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0.xml"/><Relationship Id="rId19" Type="http://schemas.openxmlformats.org/officeDocument/2006/relationships/slide" Target="slides/slide8.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slide" Target="slides/slide24.xml"/><Relationship Id="rId43" Type="http://schemas.openxmlformats.org/officeDocument/2006/relationships/slide" Target="slides/slide32.xml"/><Relationship Id="rId48" Type="http://schemas.openxmlformats.org/officeDocument/2006/relationships/slide" Target="slides/slide37.xml"/><Relationship Id="rId56" Type="http://schemas.openxmlformats.org/officeDocument/2006/relationships/slide" Target="slides/slide45.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0.xml"/><Relationship Id="rId3" Type="http://schemas.openxmlformats.org/officeDocument/2006/relationships/customXml" Target="../customXml/item3.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slide" Target="slides/slide22.xml"/><Relationship Id="rId38" Type="http://schemas.openxmlformats.org/officeDocument/2006/relationships/slide" Target="slides/slide27.xml"/><Relationship Id="rId46" Type="http://schemas.openxmlformats.org/officeDocument/2006/relationships/slide" Target="slides/slide35.xml"/><Relationship Id="rId59" Type="http://schemas.openxmlformats.org/officeDocument/2006/relationships/slide" Target="slides/slide48.xml"/><Relationship Id="rId67" Type="http://schemas.openxmlformats.org/officeDocument/2006/relationships/viewProps" Target="viewProps.xml"/><Relationship Id="rId20" Type="http://schemas.openxmlformats.org/officeDocument/2006/relationships/slide" Target="slides/slide9.xml"/><Relationship Id="rId41" Type="http://schemas.openxmlformats.org/officeDocument/2006/relationships/slide" Target="slides/slide30.xml"/><Relationship Id="rId54" Type="http://schemas.openxmlformats.org/officeDocument/2006/relationships/slide" Target="slides/slide43.xml"/><Relationship Id="rId62" Type="http://schemas.openxmlformats.org/officeDocument/2006/relationships/slide" Target="slides/slide5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slide" Target="slides/slide25.xml"/><Relationship Id="rId49" Type="http://schemas.openxmlformats.org/officeDocument/2006/relationships/slide" Target="slides/slide38.xml"/><Relationship Id="rId57" Type="http://schemas.openxmlformats.org/officeDocument/2006/relationships/slide" Target="slides/slide46.xml"/><Relationship Id="rId10" Type="http://schemas.openxmlformats.org/officeDocument/2006/relationships/slideMaster" Target="slideMasters/slideMaster7.xml"/><Relationship Id="rId31" Type="http://schemas.openxmlformats.org/officeDocument/2006/relationships/slide" Target="slides/slide20.xml"/><Relationship Id="rId44" Type="http://schemas.openxmlformats.org/officeDocument/2006/relationships/slide" Target="slides/slide33.xml"/><Relationship Id="rId52" Type="http://schemas.openxmlformats.org/officeDocument/2006/relationships/slide" Target="slides/slide41.xml"/><Relationship Id="rId60" Type="http://schemas.openxmlformats.org/officeDocument/2006/relationships/slide" Target="slides/slide49.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 Target="slides/slide2.xml"/><Relationship Id="rId18" Type="http://schemas.openxmlformats.org/officeDocument/2006/relationships/slide" Target="slides/slide7.xml"/><Relationship Id="rId39" Type="http://schemas.openxmlformats.org/officeDocument/2006/relationships/slide" Target="slides/slide28.xml"/><Relationship Id="rId34" Type="http://schemas.openxmlformats.org/officeDocument/2006/relationships/slide" Target="slides/slide23.xml"/><Relationship Id="rId50" Type="http://schemas.openxmlformats.org/officeDocument/2006/relationships/slide" Target="slides/slide39.xml"/><Relationship Id="rId55" Type="http://schemas.openxmlformats.org/officeDocument/2006/relationships/slide" Target="slides/slide4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2446" tIns="46223" rIns="92446" bIns="46223" rtlCol="0"/>
          <a:lstStyle>
            <a:lvl1pPr algn="r">
              <a:defRPr sz="1200"/>
            </a:lvl1pPr>
          </a:lstStyle>
          <a:p>
            <a:fld id="{5C5A41F5-B6C2-40E5-9E65-A9AEEB8FD18F}" type="datetimeFigureOut">
              <a:rPr lang="en-US" smtClean="0"/>
              <a:t>1/13/2013</a:t>
            </a:fld>
            <a:endParaRPr lang="en-US"/>
          </a:p>
        </p:txBody>
      </p:sp>
      <p:sp>
        <p:nvSpPr>
          <p:cNvPr id="4" name="Slide Image Placeholder 3"/>
          <p:cNvSpPr>
            <a:spLocks noGrp="1" noRot="1" noChangeAspect="1"/>
          </p:cNvSpPr>
          <p:nvPr>
            <p:ph type="sldImg" idx="2"/>
          </p:nvPr>
        </p:nvSpPr>
        <p:spPr>
          <a:xfrm>
            <a:off x="342900" y="696913"/>
            <a:ext cx="6196013"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2446" tIns="46223" rIns="92446" bIns="4622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2446" tIns="46223" rIns="92446" bIns="46223" rtlCol="0" anchor="b"/>
          <a:lstStyle>
            <a:lvl1pPr algn="r">
              <a:defRPr sz="1200"/>
            </a:lvl1pPr>
          </a:lstStyle>
          <a:p>
            <a:fld id="{0110E035-3DF4-4A15-9272-486F21423BC9}" type="slidenum">
              <a:rPr lang="en-US" smtClean="0"/>
              <a:t>‹#›</a:t>
            </a:fld>
            <a:endParaRPr lang="en-US"/>
          </a:p>
        </p:txBody>
      </p:sp>
    </p:spTree>
    <p:extLst>
      <p:ext uri="{BB962C8B-B14F-4D97-AF65-F5344CB8AC3E}">
        <p14:creationId xmlns:p14="http://schemas.microsoft.com/office/powerpoint/2010/main" val="1888841357"/>
      </p:ext>
    </p:extLst>
  </p:cSld>
  <p:clrMap bg1="lt1" tx1="dk1" bg2="lt2" tx2="dk2" accent1="accent1" accent2="accent2" accent3="accent3" accent4="accent4" accent5="accent5" accent6="accent6" hlink="hlink" folHlink="folHlink"/>
  <p:notesStyle>
    <a:lvl1pPr marL="0" algn="l" defTabSz="914172" rtl="0" eaLnBrk="1" latinLnBrk="0" hangingPunct="1">
      <a:defRPr sz="1200" kern="1200">
        <a:solidFill>
          <a:schemeClr val="tx1"/>
        </a:solidFill>
        <a:latin typeface="+mn-lt"/>
        <a:ea typeface="+mn-ea"/>
        <a:cs typeface="+mn-cs"/>
      </a:defRPr>
    </a:lvl1pPr>
    <a:lvl2pPr marL="457086" algn="l" defTabSz="914172" rtl="0" eaLnBrk="1" latinLnBrk="0" hangingPunct="1">
      <a:defRPr sz="1200" kern="1200">
        <a:solidFill>
          <a:schemeClr val="tx1"/>
        </a:solidFill>
        <a:latin typeface="+mn-lt"/>
        <a:ea typeface="+mn-ea"/>
        <a:cs typeface="+mn-cs"/>
      </a:defRPr>
    </a:lvl2pPr>
    <a:lvl3pPr marL="914172" algn="l" defTabSz="914172" rtl="0" eaLnBrk="1" latinLnBrk="0" hangingPunct="1">
      <a:defRPr sz="1200" kern="1200">
        <a:solidFill>
          <a:schemeClr val="tx1"/>
        </a:solidFill>
        <a:latin typeface="+mn-lt"/>
        <a:ea typeface="+mn-ea"/>
        <a:cs typeface="+mn-cs"/>
      </a:defRPr>
    </a:lvl3pPr>
    <a:lvl4pPr marL="1371258" algn="l" defTabSz="914172" rtl="0" eaLnBrk="1" latinLnBrk="0" hangingPunct="1">
      <a:defRPr sz="1200" kern="1200">
        <a:solidFill>
          <a:schemeClr val="tx1"/>
        </a:solidFill>
        <a:latin typeface="+mn-lt"/>
        <a:ea typeface="+mn-ea"/>
        <a:cs typeface="+mn-cs"/>
      </a:defRPr>
    </a:lvl4pPr>
    <a:lvl5pPr marL="1828344" algn="l" defTabSz="914172" rtl="0" eaLnBrk="1" latinLnBrk="0" hangingPunct="1">
      <a:defRPr sz="1200" kern="1200">
        <a:solidFill>
          <a:schemeClr val="tx1"/>
        </a:solidFill>
        <a:latin typeface="+mn-lt"/>
        <a:ea typeface="+mn-ea"/>
        <a:cs typeface="+mn-cs"/>
      </a:defRPr>
    </a:lvl5pPr>
    <a:lvl6pPr marL="2285426" algn="l" defTabSz="914172" rtl="0" eaLnBrk="1" latinLnBrk="0" hangingPunct="1">
      <a:defRPr sz="1200" kern="1200">
        <a:solidFill>
          <a:schemeClr val="tx1"/>
        </a:solidFill>
        <a:latin typeface="+mn-lt"/>
        <a:ea typeface="+mn-ea"/>
        <a:cs typeface="+mn-cs"/>
      </a:defRPr>
    </a:lvl6pPr>
    <a:lvl7pPr marL="2742516" algn="l" defTabSz="914172" rtl="0" eaLnBrk="1" latinLnBrk="0" hangingPunct="1">
      <a:defRPr sz="1200" kern="1200">
        <a:solidFill>
          <a:schemeClr val="tx1"/>
        </a:solidFill>
        <a:latin typeface="+mn-lt"/>
        <a:ea typeface="+mn-ea"/>
        <a:cs typeface="+mn-cs"/>
      </a:defRPr>
    </a:lvl7pPr>
    <a:lvl8pPr marL="3199599" algn="l" defTabSz="914172" rtl="0" eaLnBrk="1" latinLnBrk="0" hangingPunct="1">
      <a:defRPr sz="1200" kern="1200">
        <a:solidFill>
          <a:schemeClr val="tx1"/>
        </a:solidFill>
        <a:latin typeface="+mn-lt"/>
        <a:ea typeface="+mn-ea"/>
        <a:cs typeface="+mn-cs"/>
      </a:defRPr>
    </a:lvl8pPr>
    <a:lvl9pPr marL="3656684" algn="l" defTabSz="91417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1</a:t>
            </a:fld>
            <a:endParaRPr lang="en-US"/>
          </a:p>
        </p:txBody>
      </p:sp>
    </p:spTree>
    <p:extLst>
      <p:ext uri="{BB962C8B-B14F-4D97-AF65-F5344CB8AC3E}">
        <p14:creationId xmlns:p14="http://schemas.microsoft.com/office/powerpoint/2010/main" val="14691824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workflow</a:t>
            </a:r>
            <a:r>
              <a:rPr lang="en-US" baseline="0" dirty="0" smtClean="0"/>
              <a:t> for creating a custom image in the cloud </a:t>
            </a:r>
          </a:p>
          <a:p>
            <a:endParaRPr lang="en-US" baseline="0" dirty="0" smtClean="0"/>
          </a:p>
          <a:p>
            <a:r>
              <a:rPr lang="en-US" b="1" baseline="0" dirty="0" smtClean="0"/>
              <a:t>Notes:</a:t>
            </a:r>
            <a:endParaRPr lang="en-US" b="1" dirty="0" smtClean="0"/>
          </a:p>
          <a:p>
            <a:r>
              <a:rPr lang="en-US" dirty="0" smtClean="0"/>
              <a:t>This use case is all about using the capture feature of </a:t>
            </a:r>
            <a:r>
              <a:rPr lang="en-US" dirty="0" err="1" smtClean="0"/>
              <a:t>IaaS</a:t>
            </a:r>
            <a:r>
              <a:rPr lang="en-US" baseline="0" dirty="0" smtClean="0"/>
              <a:t> to create OS images. The first part you start with a base </a:t>
            </a:r>
            <a:r>
              <a:rPr lang="en-US" baseline="0" dirty="0" err="1" smtClean="0"/>
              <a:t>vhd</a:t>
            </a:r>
            <a:r>
              <a:rPr lang="en-US" baseline="0" dirty="0" smtClean="0"/>
              <a:t> that you then custom with software binaries, registry settings etc.. You run sysprep.exe and generalize/shutdown the OS. You can then upload it if coming from on-premises or just click the capture button if you created the VM in the cloud. </a:t>
            </a:r>
          </a:p>
          <a:p>
            <a:r>
              <a:rPr lang="en-US" baseline="0" dirty="0" smtClean="0"/>
              <a:t>Capture allows you to take a generalized VM and save the underlying VHD as a new image in your image librar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0</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the</a:t>
            </a:r>
            <a:r>
              <a:rPr lang="en-US" baseline="0" dirty="0" smtClean="0"/>
              <a:t> benefits of image mobility </a:t>
            </a:r>
          </a:p>
          <a:p>
            <a:endParaRPr lang="en-US" baseline="0" dirty="0" smtClean="0"/>
          </a:p>
          <a:p>
            <a:r>
              <a:rPr lang="en-US" b="1" baseline="0" dirty="0" smtClean="0"/>
              <a:t>Notes:</a:t>
            </a:r>
            <a:endParaRPr lang="en-US" b="1" dirty="0" smtClean="0"/>
          </a:p>
          <a:p>
            <a:r>
              <a:rPr lang="en-US" dirty="0" smtClean="0"/>
              <a:t>One of the key benefits of </a:t>
            </a:r>
            <a:r>
              <a:rPr lang="en-US" dirty="0" err="1" smtClean="0"/>
              <a:t>IaaS</a:t>
            </a:r>
            <a:r>
              <a:rPr lang="en-US" dirty="0" smtClean="0"/>
              <a:t> is flexibility and control. The</a:t>
            </a:r>
            <a:r>
              <a:rPr lang="en-US" baseline="0" dirty="0" smtClean="0"/>
              <a:t> Windows Azure solution provides the capability of not only moving VHDs TO the cloud but also allows you to copy the VHD back down and run it locally or on another cloud provider. Great for testing out production issues or any other need where you require a copy of the production server.</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1</a:t>
            </a:fld>
            <a:endParaRPr lang="en-US"/>
          </a:p>
        </p:txBody>
      </p:sp>
    </p:spTree>
    <p:extLst>
      <p:ext uri="{BB962C8B-B14F-4D97-AF65-F5344CB8AC3E}">
        <p14:creationId xmlns:p14="http://schemas.microsoft.com/office/powerpoint/2010/main" val="12762308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e differences between disks and images with VMs</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2</a:t>
            </a:fld>
            <a:endParaRPr lang="en-US"/>
          </a:p>
        </p:txBody>
      </p:sp>
    </p:spTree>
    <p:extLst>
      <p:ext uri="{BB962C8B-B14F-4D97-AF65-F5344CB8AC3E}">
        <p14:creationId xmlns:p14="http://schemas.microsoft.com/office/powerpoint/2010/main" val="39919669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dirty="0" smtClean="0"/>
              <a:t>Highlight</a:t>
            </a:r>
            <a:r>
              <a:rPr lang="en-US" baseline="0" dirty="0" smtClean="0"/>
              <a:t> the differences in default cache policy between the OS disk and </a:t>
            </a:r>
            <a:r>
              <a:rPr lang="en-US" baseline="0" dirty="0" err="1" smtClean="0"/>
              <a:t>DataDisk</a:t>
            </a:r>
            <a:r>
              <a:rPr lang="en-US" baseline="0" dirty="0" smtClean="0"/>
              <a: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3</a:t>
            </a:fld>
            <a:endParaRPr lang="en-US"/>
          </a:p>
        </p:txBody>
      </p:sp>
    </p:spTree>
    <p:extLst>
      <p:ext uri="{BB962C8B-B14F-4D97-AF65-F5344CB8AC3E}">
        <p14:creationId xmlns:p14="http://schemas.microsoft.com/office/powerpoint/2010/main" val="10925861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dirty="0" smtClean="0"/>
              <a:t>Explain how disks are durable</a:t>
            </a:r>
            <a:r>
              <a:rPr lang="en-US" baseline="0" dirty="0" smtClean="0"/>
              <a:t> and how Windows Azure storage works</a:t>
            </a:r>
          </a:p>
          <a:p>
            <a:pPr defTabSz="924458">
              <a:defRPr/>
            </a:pPr>
            <a:endParaRPr lang="en-US" baseline="0" dirty="0" smtClean="0"/>
          </a:p>
          <a:p>
            <a:pPr defTabSz="924458">
              <a:defRPr/>
            </a:pPr>
            <a:r>
              <a:rPr lang="en-US" b="1" baseline="0" dirty="0" smtClean="0"/>
              <a:t>Notes:</a:t>
            </a:r>
            <a:endParaRPr lang="en-US" b="1" dirty="0" smtClean="0"/>
          </a:p>
          <a:p>
            <a:pPr defTabSz="924458">
              <a:defRPr/>
            </a:pPr>
            <a:r>
              <a:rPr lang="en-US" dirty="0" smtClean="0"/>
              <a:t>The</a:t>
            </a:r>
            <a:r>
              <a:rPr lang="en-US" baseline="0" dirty="0" smtClean="0"/>
              <a:t> OS and Data Disks are stored in Windows Azure storage. So in addition to the data being persistent you also get the benefits of storage which means your VHD is replicated 3X’s locally and also 3X’s in a separate data center in the same region (geo-replication)</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This slide simply</a:t>
            </a:r>
            <a:r>
              <a:rPr lang="en-US" baseline="0" dirty="0" smtClean="0"/>
              <a:t> highlights that if the physical hardware backing your VM goes down a new server will start and pick up the same VHD.</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5429213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VM size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6</a:t>
            </a:fld>
            <a:endParaRPr lang="en-US"/>
          </a:p>
        </p:txBody>
      </p:sp>
    </p:spTree>
    <p:extLst>
      <p:ext uri="{BB962C8B-B14F-4D97-AF65-F5344CB8AC3E}">
        <p14:creationId xmlns:p14="http://schemas.microsoft.com/office/powerpoint/2010/main" val="36581445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Data Disks can have caching enabled on up to 4 disks.</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7</a:t>
            </a:fld>
            <a:endParaRPr lang="en-US"/>
          </a:p>
        </p:txBody>
      </p:sp>
    </p:spTree>
    <p:extLst>
      <p:ext uri="{BB962C8B-B14F-4D97-AF65-F5344CB8AC3E}">
        <p14:creationId xmlns:p14="http://schemas.microsoft.com/office/powerpoint/2010/main" val="19765531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Simple slide to highlight the different options available</a:t>
            </a:r>
            <a:r>
              <a:rPr lang="en-US" baseline="0" dirty="0" smtClean="0"/>
              <a:t> for management and automation. </a:t>
            </a:r>
          </a:p>
        </p:txBody>
      </p:sp>
      <p:sp>
        <p:nvSpPr>
          <p:cNvPr id="4" name="Slide Number Placeholder 3"/>
          <p:cNvSpPr>
            <a:spLocks noGrp="1"/>
          </p:cNvSpPr>
          <p:nvPr>
            <p:ph type="sldNum" sz="quarter" idx="10"/>
          </p:nvPr>
        </p:nvSpPr>
        <p:spPr/>
        <p:txBody>
          <a:bodyPr/>
          <a:lstStyle/>
          <a:p>
            <a:fld id="{0110E035-3DF4-4A15-9272-486F21423BC9}" type="slidenum">
              <a:rPr lang="en-US" smtClean="0"/>
              <a:t>18</a:t>
            </a:fld>
            <a:endParaRPr lang="en-US"/>
          </a:p>
        </p:txBody>
      </p:sp>
    </p:spTree>
    <p:extLst>
      <p:ext uri="{BB962C8B-B14F-4D97-AF65-F5344CB8AC3E}">
        <p14:creationId xmlns:p14="http://schemas.microsoft.com/office/powerpoint/2010/main" val="40796746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Highlight some of the functionality</a:t>
            </a:r>
            <a:r>
              <a:rPr lang="en-US" baseline="0" dirty="0" smtClean="0"/>
              <a:t> available to Windows Administrators to automate management / provisioning of virtual machines in the cloud.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19</a:t>
            </a:fld>
            <a:endParaRPr lang="en-US"/>
          </a:p>
        </p:txBody>
      </p:sp>
    </p:spTree>
    <p:extLst>
      <p:ext uri="{BB962C8B-B14F-4D97-AF65-F5344CB8AC3E}">
        <p14:creationId xmlns:p14="http://schemas.microsoft.com/office/powerpoint/2010/main" val="38656194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spcBef>
                <a:spcPct val="0"/>
              </a:spcBef>
            </a:pPr>
            <a:r>
              <a:rPr lang="en-US" b="1" dirty="0" smtClean="0"/>
              <a:t>Slide</a:t>
            </a:r>
            <a:r>
              <a:rPr lang="en-US" b="1" baseline="0" dirty="0" smtClean="0"/>
              <a:t> Objective:</a:t>
            </a:r>
            <a:endParaRPr lang="en-US" b="1" dirty="0" smtClean="0"/>
          </a:p>
          <a:p>
            <a:pPr>
              <a:spcBef>
                <a:spcPct val="0"/>
              </a:spcBef>
            </a:pPr>
            <a:r>
              <a:rPr lang="en-US" dirty="0" smtClean="0"/>
              <a:t>Microsoft provides a</a:t>
            </a:r>
            <a:r>
              <a:rPr lang="en-US" baseline="0" dirty="0" smtClean="0"/>
              <a:t> continuous solution from private cloud to the public cloud. No matter where you are on your technology roadmap we have a solution to fit your needs. </a:t>
            </a:r>
          </a:p>
          <a:p>
            <a:pPr>
              <a:spcBef>
                <a:spcPct val="0"/>
              </a:spcBef>
            </a:pPr>
            <a:r>
              <a:rPr lang="en-US" baseline="0" dirty="0" smtClean="0"/>
              <a:t>We are a trusted advisor and platform in the traditional enterprise and ISV space and with the new </a:t>
            </a:r>
            <a:r>
              <a:rPr lang="en-US" baseline="0" dirty="0" err="1" smtClean="0"/>
              <a:t>IaaS</a:t>
            </a:r>
            <a:r>
              <a:rPr lang="en-US" baseline="0" dirty="0" smtClean="0"/>
              <a:t> offering we are making it easier to bring this same level of trust and ease of use to the public cloud. </a:t>
            </a: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2</a:t>
            </a:fld>
            <a:endParaRPr lang="en-US"/>
          </a:p>
        </p:txBody>
      </p:sp>
    </p:spTree>
    <p:extLst>
      <p:ext uri="{BB962C8B-B14F-4D97-AF65-F5344CB8AC3E}">
        <p14:creationId xmlns:p14="http://schemas.microsoft.com/office/powerpoint/2010/main" val="39267628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baseline="0" dirty="0" smtClean="0"/>
              <a:t>Demo</a:t>
            </a:r>
          </a:p>
          <a:p>
            <a:r>
              <a:rPr lang="en-US" b="1" baseline="0" dirty="0" smtClean="0"/>
              <a:t>Notes:</a:t>
            </a:r>
          </a:p>
          <a:p>
            <a:r>
              <a:rPr lang="en-US" baseline="0" dirty="0" smtClean="0"/>
              <a:t>See DEMO-</a:t>
            </a:r>
            <a:r>
              <a:rPr lang="en-US" baseline="0" dirty="0" err="1" smtClean="0"/>
              <a:t>GettingStartedVMs</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20</a:t>
            </a:fld>
            <a:endParaRPr lang="en-US"/>
          </a:p>
        </p:txBody>
      </p:sp>
    </p:spTree>
    <p:extLst>
      <p:ext uri="{BB962C8B-B14F-4D97-AF65-F5344CB8AC3E}">
        <p14:creationId xmlns:p14="http://schemas.microsoft.com/office/powerpoint/2010/main" val="285932719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21</a:t>
            </a:fld>
            <a:endParaRPr lang="en-US"/>
          </a:p>
        </p:txBody>
      </p:sp>
    </p:spTree>
    <p:extLst>
      <p:ext uri="{BB962C8B-B14F-4D97-AF65-F5344CB8AC3E}">
        <p14:creationId xmlns:p14="http://schemas.microsoft.com/office/powerpoint/2010/main" val="377148557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When there are multiple VMs in the same cloud service they</a:t>
            </a:r>
            <a:r>
              <a:rPr lang="en-US" baseline="0" dirty="0" smtClean="0"/>
              <a:t> can communicate directly as they are on the same network.</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2</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 how when you create a stand alone VM a cloud service is created for you (even if you can’t see it in the portal).</a:t>
            </a:r>
          </a:p>
          <a:p>
            <a:endParaRPr lang="en-US" dirty="0" smtClean="0"/>
          </a:p>
          <a:p>
            <a:r>
              <a:rPr lang="en-US" b="1" dirty="0" smtClean="0"/>
              <a:t>Notes:</a:t>
            </a:r>
          </a:p>
          <a:p>
            <a:r>
              <a:rPr lang="en-US" dirty="0" smtClean="0"/>
              <a:t>Virtual Machines work</a:t>
            </a:r>
            <a:r>
              <a:rPr lang="en-US" baseline="0" dirty="0" smtClean="0"/>
              <a:t> in a similar way.</a:t>
            </a:r>
          </a:p>
          <a:p>
            <a:endParaRPr lang="en-US" baseline="0" dirty="0" smtClean="0"/>
          </a:p>
          <a:p>
            <a:r>
              <a:rPr lang="en-US" baseline="0" dirty="0" smtClean="0"/>
              <a:t>A cloud service can have up to 25 roles but if that role has a virtual machine there can only be a single instance. </a:t>
            </a:r>
          </a:p>
          <a:p>
            <a:endParaRPr lang="en-US" baseline="0" dirty="0" smtClean="0"/>
          </a:p>
          <a:p>
            <a:r>
              <a:rPr lang="en-US" baseline="0" dirty="0" smtClean="0"/>
              <a:t>Implicit Cloud service is a reference to the portal. If you only have a single VM the portal will not display the cloud service although it is created and exists.</a:t>
            </a:r>
          </a:p>
          <a:p>
            <a:r>
              <a:rPr lang="en-US" baseline="0" dirty="0" smtClean="0"/>
              <a:t>Add another role (or remove the VM) and the cloud service will show.</a:t>
            </a:r>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3</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When there are multiple VMs in the same cloud service they</a:t>
            </a:r>
            <a:r>
              <a:rPr lang="en-US" baseline="0" dirty="0" smtClean="0"/>
              <a:t> can communicate directly as they are on the same network.</a:t>
            </a:r>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82AABF77-E2E4-44CA-BA5C-65E132CF08D8}" type="slidenum">
              <a:rPr lang="en-US" smtClean="0"/>
              <a:pPr/>
              <a:t>24</a:t>
            </a:fld>
            <a:endParaRPr lang="en-US" dirty="0"/>
          </a:p>
        </p:txBody>
      </p:sp>
    </p:spTree>
    <p:extLst>
      <p:ext uri="{BB962C8B-B14F-4D97-AF65-F5344CB8AC3E}">
        <p14:creationId xmlns:p14="http://schemas.microsoft.com/office/powerpoint/2010/main" val="400044617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25</a:t>
            </a:fld>
            <a:endParaRPr lang="en-US"/>
          </a:p>
        </p:txBody>
      </p:sp>
    </p:spTree>
    <p:extLst>
      <p:ext uri="{BB962C8B-B14F-4D97-AF65-F5344CB8AC3E}">
        <p14:creationId xmlns:p14="http://schemas.microsoft.com/office/powerpoint/2010/main" val="13772279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 Windows Azure previously you did</a:t>
            </a:r>
            <a:r>
              <a:rPr lang="en-US" baseline="0" dirty="0" smtClean="0"/>
              <a:t> not have control over the VM names. This is a net new. </a:t>
            </a:r>
          </a:p>
          <a:p>
            <a:endParaRPr lang="en-US" baseline="0" dirty="0" smtClean="0"/>
          </a:p>
          <a:p>
            <a:r>
              <a:rPr lang="en-US" b="1" baseline="0" dirty="0" smtClean="0"/>
              <a:t>Notes:</a:t>
            </a:r>
          </a:p>
          <a:p>
            <a:r>
              <a:rPr lang="en-US" baseline="0" dirty="0" smtClean="0"/>
              <a:t>Windows Azure Provided DNS is also new.  Previously you had to use the Windows Azure object model to get the IP addresses of different roles in your deployment. </a:t>
            </a:r>
          </a:p>
          <a:p>
            <a:endParaRPr lang="en-US" baseline="0" dirty="0" smtClean="0"/>
          </a:p>
          <a:p>
            <a:r>
              <a:rPr lang="en-US" baseline="0" dirty="0" smtClean="0"/>
              <a:t>BYOD allows you to host Active Directory directly in the cloud or when used in conjunction with Virtual Networks (VPN) to build hybrid solutions where AD is hosted on premises and consumed in the cloud or both.</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6</a:t>
            </a:fld>
            <a:endParaRPr lang="en-US"/>
          </a:p>
        </p:txBody>
      </p:sp>
    </p:spTree>
    <p:extLst>
      <p:ext uri="{BB962C8B-B14F-4D97-AF65-F5344CB8AC3E}">
        <p14:creationId xmlns:p14="http://schemas.microsoft.com/office/powerpoint/2010/main" val="75186154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UDP is now a supported</a:t>
            </a:r>
            <a:r>
              <a:rPr lang="en-US" baseline="0" dirty="0" smtClean="0"/>
              <a:t> protocol in WA (previously wasn’t). </a:t>
            </a:r>
          </a:p>
          <a:p>
            <a:endParaRPr lang="en-US" baseline="0" dirty="0" smtClean="0"/>
          </a:p>
          <a:p>
            <a:r>
              <a:rPr lang="en-US" baseline="0" dirty="0" smtClean="0"/>
              <a:t>Discuss that by default with virtual machines there is an internal endpoint defined with </a:t>
            </a:r>
            <a:r>
              <a:rPr lang="en-US" baseline="0" dirty="0" err="1" smtClean="0"/>
              <a:t>protcol</a:t>
            </a:r>
            <a:r>
              <a:rPr lang="en-US" baseline="0" dirty="0" smtClean="0"/>
              <a:t>=“all” so essentially all traffic is open between virtual machines. </a:t>
            </a:r>
          </a:p>
          <a:p>
            <a:r>
              <a:rPr lang="en-US" baseline="0" dirty="0" smtClean="0"/>
              <a:t>Windows Server firewall and Linux firewall will still need to be configured to allow traffic.</a:t>
            </a:r>
          </a:p>
          <a:p>
            <a:endParaRPr lang="en-US" baseline="0" dirty="0" smtClean="0"/>
          </a:p>
          <a:p>
            <a:r>
              <a:rPr lang="en-US" baseline="0" dirty="0" smtClean="0"/>
              <a:t>Health probes allow the load balancer to check a custom HTTP path that tells the LB whether the server is healthy or not. For TCP endpoints no http path is required just the port to connect to.</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7</a:t>
            </a:fld>
            <a:endParaRPr lang="en-US"/>
          </a:p>
        </p:txBody>
      </p:sp>
    </p:spTree>
    <p:extLst>
      <p:ext uri="{BB962C8B-B14F-4D97-AF65-F5344CB8AC3E}">
        <p14:creationId xmlns:p14="http://schemas.microsoft.com/office/powerpoint/2010/main" val="17632282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Input</a:t>
            </a:r>
            <a:r>
              <a:rPr lang="en-US" baseline="0" dirty="0" smtClean="0"/>
              <a:t> port forwarding is how you can configure direct/non load balanced communication to multiple VMs that have services listening on the same port. </a:t>
            </a:r>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8</a:t>
            </a:fld>
            <a:endParaRPr lang="en-US"/>
          </a:p>
        </p:txBody>
      </p:sp>
    </p:spTree>
    <p:extLst>
      <p:ext uri="{BB962C8B-B14F-4D97-AF65-F5344CB8AC3E}">
        <p14:creationId xmlns:p14="http://schemas.microsoft.com/office/powerpoint/2010/main" val="15328019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Load</a:t>
            </a:r>
            <a:r>
              <a:rPr lang="en-US" baseline="0" dirty="0" smtClean="0"/>
              <a:t> balanced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29</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a:t>
            </a:fld>
            <a:endParaRPr lang="en-US"/>
          </a:p>
        </p:txBody>
      </p:sp>
    </p:spTree>
    <p:extLst>
      <p:ext uri="{BB962C8B-B14F-4D97-AF65-F5344CB8AC3E}">
        <p14:creationId xmlns:p14="http://schemas.microsoft.com/office/powerpoint/2010/main" val="12276994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Load</a:t>
            </a:r>
            <a:r>
              <a:rPr lang="en-US" baseline="0" dirty="0" smtClean="0"/>
              <a:t> Balanced Input Endpoints allow you to configure the load balance to distribute traffic to multiple VMs. This works with TCP/UDP and you can also configure an HTTP probe with a custom path to test the health of the VM.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0</a:t>
            </a:fld>
            <a:endParaRPr lang="en-US"/>
          </a:p>
        </p:txBody>
      </p:sp>
    </p:spTree>
    <p:extLst>
      <p:ext uri="{BB962C8B-B14F-4D97-AF65-F5344CB8AC3E}">
        <p14:creationId xmlns:p14="http://schemas.microsoft.com/office/powerpoint/2010/main" val="149308226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31</a:t>
            </a:fld>
            <a:endParaRPr lang="en-US"/>
          </a:p>
        </p:txBody>
      </p:sp>
    </p:spTree>
    <p:extLst>
      <p:ext uri="{BB962C8B-B14F-4D97-AF65-F5344CB8AC3E}">
        <p14:creationId xmlns:p14="http://schemas.microsoft.com/office/powerpoint/2010/main" val="11641225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1232089"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1232089">
              <a:defRPr/>
            </a:pPr>
            <a:r>
              <a:rPr lang="en-US" dirty="0" smtClean="0"/>
              <a:t>We have now</a:t>
            </a:r>
            <a:r>
              <a:rPr lang="en-US" baseline="0" dirty="0" smtClean="0"/>
              <a:t> offer an SLA for virtual machines running a single instance. This is different from web/worker roles which require two VMs for an SLA.</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2</a:t>
            </a:fld>
            <a:endParaRPr lang="en-US"/>
          </a:p>
        </p:txBody>
      </p:sp>
    </p:spTree>
    <p:extLst>
      <p:ext uri="{BB962C8B-B14F-4D97-AF65-F5344CB8AC3E}">
        <p14:creationId xmlns:p14="http://schemas.microsoft.com/office/powerpoint/2010/main" val="36584049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Discuss achieving</a:t>
            </a:r>
            <a:r>
              <a:rPr lang="en-NZ" b="0" baseline="0" dirty="0" smtClean="0"/>
              <a:t> very high availability with Windows Azure</a:t>
            </a:r>
            <a:endParaRPr lang="en-NZ" b="0" dirty="0" smtClean="0"/>
          </a:p>
          <a:p>
            <a:endParaRPr lang="en-NZ" dirty="0" smtClean="0"/>
          </a:p>
          <a:p>
            <a:r>
              <a:rPr lang="en-NZ" b="1" dirty="0" smtClean="0"/>
              <a:t>Notes:</a:t>
            </a:r>
          </a:p>
          <a:p>
            <a:pPr marL="173336" indent="-173336">
              <a:buFont typeface="Arial" pitchFamily="34" charset="0"/>
              <a:buChar char="•"/>
            </a:pPr>
            <a:r>
              <a:rPr lang="en-NZ" dirty="0" smtClean="0"/>
              <a:t>Fault Domain is a physical unit of failure, and is closely related to the physical infrastructure in the data centers. </a:t>
            </a:r>
          </a:p>
          <a:p>
            <a:pPr marL="341310" lvl="1" indent="-173336">
              <a:buFont typeface="Arial" pitchFamily="34" charset="0"/>
              <a:buChar char="•"/>
            </a:pPr>
            <a:r>
              <a:rPr lang="en-NZ" dirty="0" smtClean="0"/>
              <a:t>In Windows Azure the rack can be considered a fault domain. However there is no 1:1 mapping between fault domain and rack.  </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Windows Azure Fabric is responsible to deploy the instances of your application in different fault domains. </a:t>
            </a:r>
          </a:p>
          <a:p>
            <a:pPr marL="341310" lvl="1" indent="-173336">
              <a:buFont typeface="Arial" pitchFamily="34" charset="0"/>
              <a:buChar char="•"/>
            </a:pPr>
            <a:r>
              <a:rPr lang="en-NZ" dirty="0" smtClean="0"/>
              <a:t>Obviously this only</a:t>
            </a:r>
            <a:r>
              <a:rPr lang="en-NZ" baseline="0" dirty="0" smtClean="0"/>
              <a:t> applies if you run more than 1 instance</a:t>
            </a:r>
          </a:p>
          <a:p>
            <a:pPr marL="341310" lvl="1" indent="-173336">
              <a:buFont typeface="Arial" pitchFamily="34" charset="0"/>
              <a:buChar char="•"/>
            </a:pPr>
            <a:endParaRPr lang="en-NZ" dirty="0" smtClean="0"/>
          </a:p>
          <a:p>
            <a:pPr marL="173336" indent="-173336">
              <a:buFont typeface="Arial" pitchFamily="34" charset="0"/>
              <a:buChar char="•"/>
            </a:pPr>
            <a:r>
              <a:rPr lang="en-NZ" dirty="0" smtClean="0"/>
              <a:t>Right now Fabric makes sure that your application uses at least 2 (two) fault domains, however depending on capacity and VM availability it may happen that it is spread across more than that. </a:t>
            </a:r>
          </a:p>
          <a:p>
            <a:pPr marL="173336" indent="-173336">
              <a:buFont typeface="Arial" pitchFamily="34" charset="0"/>
              <a:buChar char="•"/>
            </a:pPr>
            <a:r>
              <a:rPr lang="en-NZ" dirty="0" smtClean="0"/>
              <a:t>As a developer u have no direct control over how many fault domains your application will use but the way you configure it may impact your availability</a:t>
            </a:r>
          </a:p>
          <a:p>
            <a:endParaRPr lang="en-NZ" dirty="0" smtClean="0"/>
          </a:p>
          <a:p>
            <a:pPr marL="173336" indent="-173336">
              <a:buFont typeface="Arial" pitchFamily="34" charset="0"/>
              <a:buChar char="•"/>
            </a:pPr>
            <a:r>
              <a:rPr lang="en-NZ" dirty="0" smtClean="0"/>
              <a:t>Upgrade Domain is a logical unit, which determines how particular service will be upgraded. </a:t>
            </a:r>
          </a:p>
          <a:p>
            <a:pPr marL="173336" indent="-173336">
              <a:buFont typeface="Arial" pitchFamily="34" charset="0"/>
              <a:buChar char="•"/>
            </a:pPr>
            <a:r>
              <a:rPr lang="en-NZ" dirty="0" smtClean="0"/>
              <a:t>The default number of upgrade domains that are configured for your application is 5 (five). You can control how many upgrade domains your application will use through the upgradeDomain configuration setting in your service definition file (CSDEF). </a:t>
            </a:r>
          </a:p>
          <a:p>
            <a:pPr marL="173336" indent="-173336">
              <a:buFont typeface="Arial" pitchFamily="34" charset="0"/>
              <a:buChar char="•"/>
            </a:pPr>
            <a:r>
              <a:rPr lang="en-NZ" dirty="0" smtClean="0"/>
              <a:t>Windows Azure Fabric ensures that particular upgrade domain is not within single fault domain</a:t>
            </a:r>
          </a:p>
          <a:p>
            <a:pPr marL="341310" lvl="1" indent="-173336">
              <a:buFont typeface="Arial" pitchFamily="34" charset="0"/>
              <a:buChar char="•"/>
            </a:pPr>
            <a:r>
              <a:rPr lang="en-NZ" dirty="0" smtClean="0"/>
              <a:t>That is Upgrade</a:t>
            </a:r>
            <a:r>
              <a:rPr lang="en-NZ" baseline="0" dirty="0" smtClean="0"/>
              <a:t> domains are orthogonal to fault domains</a:t>
            </a:r>
          </a:p>
          <a:p>
            <a:pPr marL="341310" lvl="1" indent="-173336">
              <a:buFont typeface="Arial" pitchFamily="34" charset="0"/>
              <a:buChar char="•"/>
            </a:pPr>
            <a:endParaRPr lang="en-NZ" baseline="0" dirty="0" smtClean="0"/>
          </a:p>
          <a:p>
            <a:pPr marL="173336" indent="-173336">
              <a:buFont typeface="Arial" pitchFamily="34" charset="0"/>
              <a:buChar char="•"/>
            </a:pPr>
            <a:r>
              <a:rPr lang="en-NZ" baseline="0" dirty="0" smtClean="0"/>
              <a:t>Roles are then spread out over upgrade domains and fault domains. Subject to running a reasonable number of instances this removes the risk of a single point of failure</a:t>
            </a:r>
            <a:endParaRPr lang="en-NZ"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33</a:t>
            </a:fld>
            <a:endParaRPr lang="en-US" dirty="0"/>
          </a:p>
        </p:txBody>
      </p:sp>
    </p:spTree>
    <p:extLst>
      <p:ext uri="{BB962C8B-B14F-4D97-AF65-F5344CB8AC3E}">
        <p14:creationId xmlns:p14="http://schemas.microsoft.com/office/powerpoint/2010/main" val="201042622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defTabSz="721141">
              <a:lnSpc>
                <a:spcPct val="90000"/>
              </a:lnSpc>
              <a:spcAft>
                <a:spcPts val="263"/>
              </a:spcAft>
              <a:defRPr/>
            </a:pPr>
            <a:r>
              <a:rPr lang="en-NZ" b="1" dirty="0" smtClean="0"/>
              <a:t>Slide Objective:</a:t>
            </a:r>
          </a:p>
          <a:p>
            <a:pPr defTabSz="721141">
              <a:lnSpc>
                <a:spcPct val="90000"/>
              </a:lnSpc>
              <a:spcAft>
                <a:spcPts val="263"/>
              </a:spcAft>
              <a:defRPr/>
            </a:pPr>
            <a:r>
              <a:rPr lang="en-NZ" b="0" dirty="0" smtClean="0"/>
              <a:t>Provide a graphical view of fault and upgrade domains for existing web</a:t>
            </a:r>
            <a:r>
              <a:rPr lang="en-NZ" b="0" baseline="0" dirty="0" smtClean="0"/>
              <a:t> and worker roles. Use to contrast existing skills with availability sets.</a:t>
            </a:r>
            <a:endParaRPr lang="en-NZ" b="0" dirty="0" smtClean="0"/>
          </a:p>
          <a:p>
            <a:pPr defTabSz="721141">
              <a:lnSpc>
                <a:spcPct val="90000"/>
              </a:lnSpc>
              <a:spcAft>
                <a:spcPts val="263"/>
              </a:spcAft>
              <a:defRPr/>
            </a:pPr>
            <a:endParaRPr lang="en-NZ" b="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You can see that our service is well spread out across both fault and upgrade domains</a:t>
            </a:r>
          </a:p>
          <a:p>
            <a:pPr defTabSz="721141">
              <a:lnSpc>
                <a:spcPct val="90000"/>
              </a:lnSpc>
              <a:spcAft>
                <a:spcPts val="263"/>
              </a:spcAft>
              <a:defRPr/>
            </a:pPr>
            <a:r>
              <a:rPr lang="en-NZ" b="0" dirty="0" smtClean="0"/>
              <a:t>The loss of a fault domain will not cause a failure of our service</a:t>
            </a:r>
            <a:r>
              <a:rPr lang="en-NZ" b="0" baseline="0" dirty="0" smtClean="0"/>
              <a:t> nor will the restart or change of an upgrade domain cause a failure of our service</a:t>
            </a:r>
          </a:p>
          <a:p>
            <a:pPr defTabSz="721141">
              <a:lnSpc>
                <a:spcPct val="90000"/>
              </a:lnSpc>
              <a:spcAft>
                <a:spcPts val="263"/>
              </a:spcAft>
              <a:defRPr/>
            </a:pPr>
            <a:endParaRPr lang="en-NZ" b="1" baseline="0" dirty="0" smtClean="0"/>
          </a:p>
          <a:p>
            <a:pPr defTabSz="721141">
              <a:lnSpc>
                <a:spcPct val="90000"/>
              </a:lnSpc>
              <a:spcAft>
                <a:spcPts val="263"/>
              </a:spcAft>
              <a:defRPr/>
            </a:pPr>
            <a:endParaRPr lang="en-NZ" b="1" baseline="0" dirty="0" smtClean="0"/>
          </a:p>
          <a:p>
            <a:pPr defTabSz="721141">
              <a:lnSpc>
                <a:spcPct val="90000"/>
              </a:lnSpc>
              <a:spcAft>
                <a:spcPts val="263"/>
              </a:spcAft>
              <a:defRPr/>
            </a:pPr>
            <a:r>
              <a:rPr lang="en-NZ" b="1" baseline="0" dirty="0" smtClean="0"/>
              <a:t>Notes</a:t>
            </a:r>
          </a:p>
          <a:p>
            <a:pPr defTabSz="721141">
              <a:lnSpc>
                <a:spcPct val="90000"/>
              </a:lnSpc>
              <a:spcAft>
                <a:spcPts val="263"/>
              </a:spcAft>
              <a:defRPr/>
            </a:pPr>
            <a:r>
              <a:rPr lang="en-NZ" b="0" dirty="0" smtClean="0"/>
              <a:t>Useful pre-reading here.</a:t>
            </a:r>
          </a:p>
          <a:p>
            <a:pPr defTabSz="721141">
              <a:lnSpc>
                <a:spcPct val="90000"/>
              </a:lnSpc>
              <a:spcAft>
                <a:spcPts val="263"/>
              </a:spcAft>
              <a:defRPr/>
            </a:pPr>
            <a:r>
              <a:rPr lang="en-NZ" b="0" dirty="0" smtClean="0"/>
              <a:t>http://blog.toddysm.com/2010/04/upgrade-domains-and-fault-domains-in-windows-azure.html</a:t>
            </a:r>
          </a:p>
          <a:p>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59784237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NZ" dirty="0" smtClean="0"/>
              <a:t>Explain availability</a:t>
            </a:r>
            <a:r>
              <a:rPr lang="en-NZ" baseline="0" dirty="0" smtClean="0"/>
              <a:t> sets</a:t>
            </a:r>
          </a:p>
          <a:p>
            <a:endParaRPr lang="en-NZ" baseline="0" dirty="0" smtClean="0"/>
          </a:p>
          <a:p>
            <a:r>
              <a:rPr lang="en-NZ" b="1" baseline="0" dirty="0" smtClean="0"/>
              <a:t>Notes:</a:t>
            </a:r>
            <a:endParaRPr lang="en-NZ" b="1" dirty="0" smtClean="0"/>
          </a:p>
          <a:p>
            <a:r>
              <a:rPr lang="en-NZ" dirty="0" smtClean="0"/>
              <a:t>Availability sets</a:t>
            </a:r>
            <a:r>
              <a:rPr lang="en-NZ" baseline="0" dirty="0" smtClean="0"/>
              <a:t> tell the Fabric Controller to place VMs in the same set on different racks for faults and in separate upgrade domains for updates. </a:t>
            </a:r>
          </a:p>
          <a:p>
            <a:r>
              <a:rPr lang="en-NZ" baseline="0" dirty="0" smtClean="0"/>
              <a:t>This essentially tells the FC not to take the guest OS down of all VMs in the same set for host updates. </a:t>
            </a:r>
            <a:endParaRPr lang="en-NZ"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5</a:t>
            </a:fld>
            <a:endParaRPr lang="en-US" dirty="0"/>
          </a:p>
        </p:txBody>
      </p:sp>
    </p:spTree>
    <p:extLst>
      <p:ext uri="{BB962C8B-B14F-4D97-AF65-F5344CB8AC3E}">
        <p14:creationId xmlns:p14="http://schemas.microsoft.com/office/powerpoint/2010/main" val="259784237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You need an</a:t>
            </a:r>
            <a:r>
              <a:rPr lang="en-US" baseline="0" dirty="0" smtClean="0"/>
              <a:t> availability set for a 99.95% SLA</a:t>
            </a:r>
          </a:p>
          <a:p>
            <a:endParaRPr lang="en-US" baseline="0" dirty="0" smtClean="0"/>
          </a:p>
          <a:p>
            <a:r>
              <a:rPr lang="en-US" b="1" baseline="0" dirty="0" smtClean="0"/>
              <a:t>Notes:</a:t>
            </a:r>
            <a:endParaRPr lang="en-US" b="1" dirty="0" smtClean="0"/>
          </a:p>
          <a:p>
            <a:r>
              <a:rPr lang="en-US" dirty="0" smtClean="0"/>
              <a:t>Without</a:t>
            </a:r>
            <a:r>
              <a:rPr lang="en-US" baseline="0" dirty="0" smtClean="0"/>
              <a:t> at least two virtual machines performing the same workload grouped into an availability set you only get the 99.9% SLA. To achieve 99.95 you must use availability sets.</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223658565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that each tier of an application can be enabled with its own availability set which ensures at a physical hardware level in the data center that there is no single point of failure.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7</a:t>
            </a:fld>
            <a:endParaRPr lang="en-US"/>
          </a:p>
        </p:txBody>
      </p:sp>
    </p:spTree>
    <p:extLst>
      <p:ext uri="{BB962C8B-B14F-4D97-AF65-F5344CB8AC3E}">
        <p14:creationId xmlns:p14="http://schemas.microsoft.com/office/powerpoint/2010/main" val="32065426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lvl="0"/>
            <a:r>
              <a:rPr lang="en-US" dirty="0" smtClean="0"/>
              <a:t>DEMO</a:t>
            </a:r>
          </a:p>
          <a:p>
            <a:pPr lvl="0"/>
            <a:r>
              <a:rPr lang="en-US" b="1" dirty="0" smtClean="0"/>
              <a:t>Notes:</a:t>
            </a:r>
          </a:p>
          <a:p>
            <a:pPr lvl="0"/>
            <a:r>
              <a:rPr lang="en-US" dirty="0" smtClean="0"/>
              <a:t>See DEMO-</a:t>
            </a:r>
            <a:r>
              <a:rPr lang="en-US" dirty="0" err="1" smtClean="0"/>
              <a:t>LoadBalancingAvailability</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38</a:t>
            </a:fld>
            <a:endParaRPr lang="en-US"/>
          </a:p>
        </p:txBody>
      </p:sp>
    </p:spTree>
    <p:extLst>
      <p:ext uri="{BB962C8B-B14F-4D97-AF65-F5344CB8AC3E}">
        <p14:creationId xmlns:p14="http://schemas.microsoft.com/office/powerpoint/2010/main" val="300946902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39</a:t>
            </a:fld>
            <a:endParaRPr lang="en-US"/>
          </a:p>
        </p:txBody>
      </p:sp>
    </p:spTree>
    <p:extLst>
      <p:ext uri="{BB962C8B-B14F-4D97-AF65-F5344CB8AC3E}">
        <p14:creationId xmlns:p14="http://schemas.microsoft.com/office/powerpoint/2010/main" val="10878263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endParaRPr lang="en-US" b="1" dirty="0" smtClean="0"/>
          </a:p>
          <a:p>
            <a:r>
              <a:rPr lang="en-US" dirty="0" smtClean="0"/>
              <a:t>With the introduction</a:t>
            </a:r>
            <a:r>
              <a:rPr lang="en-US" baseline="0" dirty="0" smtClean="0"/>
              <a:t> of Windows Azure Virtual Machines and Virtual Networks there are an entirely new set of workloads that are suitable. </a:t>
            </a:r>
          </a:p>
          <a:p>
            <a:endParaRPr lang="en-US" baseline="0"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pPr/>
              <a:t>4</a:t>
            </a:fld>
            <a:endParaRPr lang="en-US" dirty="0"/>
          </a:p>
        </p:txBody>
      </p:sp>
    </p:spTree>
    <p:extLst>
      <p:ext uri="{BB962C8B-B14F-4D97-AF65-F5344CB8AC3E}">
        <p14:creationId xmlns:p14="http://schemas.microsoft.com/office/powerpoint/2010/main" val="367754031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r>
              <a:rPr lang="en-US" b="1" dirty="0" smtClean="0"/>
              <a:t>Slide Objective:</a:t>
            </a:r>
          </a:p>
          <a:p>
            <a:r>
              <a:rPr lang="en-US" dirty="0" smtClean="0"/>
              <a:t>Microsoft stack to provide connectivity between on-premise and cloud.</a:t>
            </a:r>
          </a:p>
          <a:p>
            <a:endParaRPr lang="en-US" baseline="0" dirty="0" smtClean="0"/>
          </a:p>
          <a:p>
            <a:r>
              <a:rPr lang="en-US" b="1" baseline="0" dirty="0" smtClean="0"/>
              <a:t>Notes:</a:t>
            </a:r>
          </a:p>
          <a:p>
            <a:r>
              <a:rPr lang="en-US" baseline="0" dirty="0" err="1" smtClean="0"/>
              <a:t>Servicebus</a:t>
            </a:r>
            <a:r>
              <a:rPr lang="en-US" baseline="0" dirty="0" smtClean="0"/>
              <a:t> </a:t>
            </a:r>
            <a:r>
              <a:rPr lang="en-US" baseline="0" dirty="0" err="1" smtClean="0"/>
              <a:t>vs</a:t>
            </a:r>
            <a:r>
              <a:rPr lang="en-US" baseline="0" dirty="0" smtClean="0"/>
              <a:t> connect – SB requires app code change, Connect/Virtual Networks do not. </a:t>
            </a:r>
          </a:p>
          <a:p>
            <a:endParaRPr lang="en-US" baseline="0" dirty="0" smtClean="0"/>
          </a:p>
          <a:p>
            <a:r>
              <a:rPr lang="en-US" baseline="0" dirty="0" smtClean="0"/>
              <a:t>Virtual Networks are the net new here. They provide site to site connectivity where Connect provided server to server connectivity.</a:t>
            </a:r>
          </a:p>
          <a:p>
            <a:r>
              <a:rPr lang="en-US" baseline="0" dirty="0" smtClean="0"/>
              <a:t>Virtual Networks are the more flexible and powerful option.</a:t>
            </a:r>
          </a:p>
          <a:p>
            <a:endParaRPr lang="en-US" dirty="0" smtClean="0"/>
          </a:p>
          <a:p>
            <a:endParaRPr lang="en-US" dirty="0" smtClean="0"/>
          </a:p>
          <a:p>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220570785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t>VNET Overview</a:t>
            </a:r>
          </a:p>
          <a:p>
            <a:endParaRPr lang="en-US" b="1" dirty="0" smtClean="0"/>
          </a:p>
          <a:p>
            <a:r>
              <a:rPr lang="en-US" b="1" dirty="0" smtClean="0"/>
              <a:t>Notes:</a:t>
            </a:r>
          </a:p>
          <a:p>
            <a:r>
              <a:rPr lang="en-US" dirty="0" smtClean="0"/>
              <a:t>Windows</a:t>
            </a:r>
            <a:r>
              <a:rPr lang="en-US" baseline="0" dirty="0" smtClean="0"/>
              <a:t> Azure Virtual Networks is our solution to providing hybrid solutions and solutions that require advanced connectivity in the cloud. </a:t>
            </a:r>
          </a:p>
          <a:p>
            <a:r>
              <a:rPr lang="en-US" baseline="0" dirty="0" smtClean="0"/>
              <a:t>Hybrid on-premises to cloud is enabled by using the VPN solution that allows site&lt;-&gt;site connectivity allowing machines on premise and machines in the cloud to appear on the same network.</a:t>
            </a:r>
          </a:p>
          <a:p>
            <a:endParaRPr lang="en-US" baseline="0" dirty="0" smtClean="0"/>
          </a:p>
          <a:p>
            <a:r>
              <a:rPr lang="en-US" baseline="0" dirty="0" smtClean="0"/>
              <a:t>Advanced connectivity solutions are enabled because Windows Azure applications that are deployed in to a virtual network will have persistent IP addresses. This is a requirement for solutions like Active Directory. </a:t>
            </a:r>
          </a:p>
          <a:p>
            <a:endParaRPr lang="en-US" baseline="0" dirty="0" smtClean="0"/>
          </a:p>
          <a:p>
            <a:r>
              <a:rPr lang="en-US" baseline="0" dirty="0" smtClean="0"/>
              <a:t>Other solutions enabled by virtual networks in the cloud are mixing VMs and web/worker role solutions in the same Windows Azure network. This allows for scenarios like web/worker roles to communicate back to VMs running applications like SQL server.</a:t>
            </a:r>
          </a:p>
          <a:p>
            <a:endParaRPr lang="en-US" baseline="0" dirty="0" smtClean="0"/>
          </a:p>
          <a:p>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41</a:t>
            </a:fld>
            <a:endParaRPr lang="en-US"/>
          </a:p>
        </p:txBody>
      </p:sp>
    </p:spTree>
    <p:extLst>
      <p:ext uri="{BB962C8B-B14F-4D97-AF65-F5344CB8AC3E}">
        <p14:creationId xmlns:p14="http://schemas.microsoft.com/office/powerpoint/2010/main" val="417418082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Show VNET scenarios </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A28BBC60-AFCD-45D8-985A-BA4A4057B93A}" type="slidenum">
              <a:rPr lang="en-US" smtClean="0"/>
              <a:pPr/>
              <a:t>42</a:t>
            </a:fld>
            <a:endParaRPr lang="en-US"/>
          </a:p>
        </p:txBody>
      </p:sp>
    </p:spTree>
    <p:extLst>
      <p:ext uri="{BB962C8B-B14F-4D97-AF65-F5344CB8AC3E}">
        <p14:creationId xmlns:p14="http://schemas.microsoft.com/office/powerpoint/2010/main" val="35235343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normAutofit/>
          </a:bodyPr>
          <a:lstStyle/>
          <a:p>
            <a:r>
              <a:rPr lang="en-US" b="1" dirty="0" smtClean="0"/>
              <a:t>Slide Objective:</a:t>
            </a:r>
          </a:p>
          <a:p>
            <a:r>
              <a:rPr lang="en-US" b="0" dirty="0" smtClean="0"/>
              <a:t>Quick</a:t>
            </a:r>
            <a:r>
              <a:rPr lang="en-US" b="0" baseline="0" dirty="0" smtClean="0"/>
              <a:t> reference of use cases for </a:t>
            </a:r>
            <a:r>
              <a:rPr lang="en-US" b="0" baseline="0" dirty="0" err="1" smtClean="0"/>
              <a:t>VNEt</a:t>
            </a:r>
            <a:endParaRPr lang="en-US" b="0" baseline="0" dirty="0" smtClean="0"/>
          </a:p>
          <a:p>
            <a:endParaRPr lang="en-US" b="0" baseline="0" dirty="0" smtClean="0"/>
          </a:p>
          <a:p>
            <a:r>
              <a:rPr lang="en-US" b="1" dirty="0" smtClean="0"/>
              <a:t>Notes:</a:t>
            </a:r>
          </a:p>
          <a:p>
            <a:r>
              <a:rPr lang="en-US" dirty="0" smtClean="0"/>
              <a:t>Windows</a:t>
            </a:r>
            <a:r>
              <a:rPr lang="en-US" baseline="0" dirty="0" smtClean="0"/>
              <a:t> Azure Virtual Networks provide functionality above and beyond site to site networking. </a:t>
            </a:r>
          </a:p>
          <a:p>
            <a:endParaRPr lang="en-US" baseline="0" dirty="0" smtClean="0"/>
          </a:p>
          <a:p>
            <a:r>
              <a:rPr lang="en-US" baseline="0" dirty="0" smtClean="0"/>
              <a:t>VNETs also provide persistent IP addresses through an infinite DHCP lease (not static but effectively the same thing).</a:t>
            </a:r>
          </a:p>
          <a:p>
            <a:endParaRPr lang="en-US" baseline="0" dirty="0" smtClean="0"/>
          </a:p>
          <a:p>
            <a:r>
              <a:rPr lang="en-US" baseline="0" dirty="0" smtClean="0"/>
              <a:t>VNETs also provide the capability of connecting cloud services in the same affinity group directly. This allows for scenarios like web and worker roles to virtual machines running services like SQL Server 2012 or SharePoint.</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22877622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Show currently supporte</a:t>
            </a:r>
            <a:r>
              <a:rPr lang="en-US" baseline="0" dirty="0" smtClean="0"/>
              <a:t>d VPN devices</a:t>
            </a:r>
          </a:p>
          <a:p>
            <a:endParaRPr lang="en-US" baseline="0" dirty="0" smtClean="0"/>
          </a:p>
          <a:p>
            <a:endParaRPr lang="en-US" dirty="0" smtClean="0"/>
          </a:p>
          <a:p>
            <a:endParaRPr lang="en-US" dirty="0" smtClean="0"/>
          </a:p>
          <a:p>
            <a:endParaRPr lang="en-US" dirty="0" smtClean="0"/>
          </a:p>
          <a:p>
            <a:endParaRPr lang="en-US" b="1" dirty="0"/>
          </a:p>
        </p:txBody>
      </p:sp>
      <p:sp>
        <p:nvSpPr>
          <p:cNvPr id="4" name="Slide Number Placeholder 3"/>
          <p:cNvSpPr>
            <a:spLocks noGrp="1"/>
          </p:cNvSpPr>
          <p:nvPr>
            <p:ph type="sldNum" sz="quarter" idx="10"/>
          </p:nvPr>
        </p:nvSpPr>
        <p:spPr/>
        <p:txBody>
          <a:bodyPr/>
          <a:lstStyle/>
          <a:p>
            <a:fld id="{0110E035-3DF4-4A15-9272-486F21423BC9}" type="slidenum">
              <a:rPr lang="en-US" smtClean="0"/>
              <a:t>44</a:t>
            </a:fld>
            <a:endParaRPr lang="en-US"/>
          </a:p>
        </p:txBody>
      </p:sp>
    </p:spTree>
    <p:extLst>
      <p:ext uri="{BB962C8B-B14F-4D97-AF65-F5344CB8AC3E}">
        <p14:creationId xmlns:p14="http://schemas.microsoft.com/office/powerpoint/2010/main" val="6899300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defTabSz="924458">
              <a:spcBef>
                <a:spcPct val="0"/>
              </a:spcBef>
              <a:defRPr/>
            </a:pPr>
            <a:r>
              <a:rPr lang="en-US" dirty="0" smtClean="0"/>
              <a:t>Building new </a:t>
            </a:r>
            <a:r>
              <a:rPr lang="en-US" dirty="0" err="1" smtClean="0"/>
              <a:t>PaaS</a:t>
            </a:r>
            <a:r>
              <a:rPr lang="en-US" dirty="0" smtClean="0"/>
              <a:t> applications</a:t>
            </a:r>
            <a:r>
              <a:rPr lang="en-US" baseline="0" dirty="0" smtClean="0"/>
              <a:t> is a no-brainer when looking at some of the benefits:</a:t>
            </a:r>
            <a:endParaRPr lang="en-US" dirty="0" smtClean="0"/>
          </a:p>
          <a:p>
            <a:pPr>
              <a:spcBef>
                <a:spcPct val="0"/>
              </a:spcBef>
            </a:pPr>
            <a:endParaRPr lang="en-US" dirty="0" smtClean="0"/>
          </a:p>
          <a:p>
            <a:pPr lvl="1"/>
            <a:r>
              <a:rPr lang="en-US" sz="2400" dirty="0"/>
              <a:t>Simplified Deployment and Configuration</a:t>
            </a:r>
          </a:p>
          <a:p>
            <a:pPr lvl="1"/>
            <a:r>
              <a:rPr lang="en-US" sz="2400" dirty="0"/>
              <a:t>Health Model</a:t>
            </a:r>
          </a:p>
          <a:p>
            <a:pPr lvl="1"/>
            <a:r>
              <a:rPr lang="en-US" sz="2400" dirty="0"/>
              <a:t>Easy High Availability</a:t>
            </a:r>
          </a:p>
          <a:p>
            <a:pPr lvl="1"/>
            <a:r>
              <a:rPr lang="en-US" sz="2400" dirty="0"/>
              <a:t>Instance Scalability</a:t>
            </a:r>
          </a:p>
          <a:p>
            <a:pPr lvl="1"/>
            <a:r>
              <a:rPr lang="en-US" sz="2400" dirty="0"/>
              <a:t>OS Patching</a:t>
            </a:r>
          </a:p>
          <a:p>
            <a:pPr lvl="1"/>
            <a:r>
              <a:rPr lang="en-US" sz="2400" dirty="0"/>
              <a:t>Automatic Firewall Configuration</a:t>
            </a:r>
          </a:p>
          <a:p>
            <a:pPr lvl="1"/>
            <a:r>
              <a:rPr lang="en-US" sz="2400" dirty="0"/>
              <a:t>Simple Certificate Deployment</a:t>
            </a:r>
          </a:p>
          <a:p>
            <a:pPr>
              <a:spcBef>
                <a:spcPct val="0"/>
              </a:spcBef>
            </a:pPr>
            <a:endParaRPr lang="en-US" dirty="0" smtClean="0"/>
          </a:p>
          <a:p>
            <a:pPr>
              <a:spcBef>
                <a:spcPct val="0"/>
              </a:spcBef>
            </a:pPr>
            <a:r>
              <a:rPr lang="en-US" dirty="0" smtClean="0"/>
              <a:t>However, building new applications</a:t>
            </a:r>
            <a:r>
              <a:rPr lang="en-US" baseline="0" dirty="0" smtClean="0"/>
              <a:t> sometimes comes with a dependency on other systems or legacy code. </a:t>
            </a:r>
          </a:p>
          <a:p>
            <a:pPr>
              <a:spcBef>
                <a:spcPct val="0"/>
              </a:spcBef>
            </a:pPr>
            <a:r>
              <a:rPr lang="en-US" baseline="0" dirty="0" smtClean="0"/>
              <a:t>This has sometimes blocked the development of </a:t>
            </a:r>
            <a:r>
              <a:rPr lang="en-US" baseline="0" dirty="0" err="1" smtClean="0"/>
              <a:t>PaaS</a:t>
            </a:r>
            <a:r>
              <a:rPr lang="en-US" baseline="0" dirty="0" smtClean="0"/>
              <a:t> applications. The </a:t>
            </a:r>
            <a:r>
              <a:rPr lang="en-US" baseline="0" dirty="0" err="1" smtClean="0"/>
              <a:t>IaaS</a:t>
            </a:r>
            <a:r>
              <a:rPr lang="en-US" baseline="0" dirty="0" smtClean="0"/>
              <a:t> offering will unblock these types of applications and allow for the two development models to co-exist and directly communicate. </a:t>
            </a:r>
          </a:p>
          <a:p>
            <a:pPr>
              <a:spcBef>
                <a:spcPct val="0"/>
              </a:spcBef>
            </a:pPr>
            <a:endParaRPr lang="en-US" dirty="0" smtClean="0"/>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5</a:t>
            </a:fld>
            <a:endParaRPr lang="en-US">
              <a:solidFill>
                <a:prstClr val="black"/>
              </a:solidFill>
            </a:endParaRPr>
          </a:p>
        </p:txBody>
      </p:sp>
    </p:spTree>
    <p:extLst>
      <p:ext uri="{BB962C8B-B14F-4D97-AF65-F5344CB8AC3E}">
        <p14:creationId xmlns:p14="http://schemas.microsoft.com/office/powerpoint/2010/main" val="39267628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323" y="697230"/>
            <a:ext cx="6117167" cy="34861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Explain benefits of a </a:t>
            </a:r>
            <a:r>
              <a:rPr lang="en-US" dirty="0" err="1" smtClean="0"/>
              <a:t>PaaS</a:t>
            </a:r>
            <a:r>
              <a:rPr lang="en-US" dirty="0" smtClean="0"/>
              <a:t> Model</a:t>
            </a:r>
          </a:p>
          <a:p>
            <a:endParaRPr lang="en-US" dirty="0" smtClean="0"/>
          </a:p>
          <a:p>
            <a:endParaRPr lang="en-US" dirty="0" smtClean="0"/>
          </a:p>
          <a:p>
            <a:endParaRPr lang="en-US" dirty="0"/>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46</a:t>
            </a:fld>
            <a:endParaRPr lang="en-US" dirty="0">
              <a:solidFill>
                <a:prstClr val="black"/>
              </a:solidFill>
            </a:endParaRPr>
          </a:p>
        </p:txBody>
      </p:sp>
    </p:spTree>
    <p:extLst>
      <p:ext uri="{BB962C8B-B14F-4D97-AF65-F5344CB8AC3E}">
        <p14:creationId xmlns:p14="http://schemas.microsoft.com/office/powerpoint/2010/main" val="2963032367"/>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2900" y="696913"/>
            <a:ext cx="6196013" cy="348615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mpare the current mixed mode developer</a:t>
            </a:r>
            <a:r>
              <a:rPr lang="en-US" baseline="0" dirty="0" smtClean="0"/>
              <a:t> models </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solidFill>
                  <a:prstClr val="black"/>
                </a:solidFill>
              </a:rPr>
              <a:pPr/>
              <a:t>47</a:t>
            </a:fld>
            <a:endParaRPr lang="en-US">
              <a:solidFill>
                <a:prstClr val="black"/>
              </a:solidFill>
            </a:endParaRPr>
          </a:p>
        </p:txBody>
      </p:sp>
    </p:spTree>
    <p:extLst>
      <p:ext uri="{BB962C8B-B14F-4D97-AF65-F5344CB8AC3E}">
        <p14:creationId xmlns:p14="http://schemas.microsoft.com/office/powerpoint/2010/main" val="100994234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 cloud</a:t>
            </a:r>
            <a:r>
              <a:rPr lang="en-US" baseline="0" dirty="0" smtClean="0"/>
              <a:t> services without a </a:t>
            </a:r>
            <a:r>
              <a:rPr lang="en-US" baseline="0" dirty="0" err="1" smtClean="0"/>
              <a:t>VNEt</a:t>
            </a:r>
            <a:endParaRPr lang="en-US" baseline="0" dirty="0" smtClean="0"/>
          </a:p>
          <a:p>
            <a:endParaRPr lang="en-US" baseline="0" dirty="0" smtClean="0"/>
          </a:p>
          <a:p>
            <a:r>
              <a:rPr lang="en-US" b="1" baseline="0" dirty="0" smtClean="0"/>
              <a:t>Notes:</a:t>
            </a:r>
            <a:endParaRPr lang="en-US" b="1" dirty="0" smtClean="0"/>
          </a:p>
          <a:p>
            <a:r>
              <a:rPr lang="en-US" dirty="0" smtClean="0"/>
              <a:t>This diagram</a:t>
            </a:r>
            <a:r>
              <a:rPr lang="en-US" baseline="0" dirty="0" smtClean="0"/>
              <a:t> illustrates how you can configure applications such as Windows Azure Web Sites or Cloud Services to connect to applications running on virtual machines without directly putting them on the same virtual network. Note currently Windows Azure Web Sites do not support virtual networks. </a:t>
            </a:r>
          </a:p>
          <a:p>
            <a:endParaRPr lang="en-US" baseline="0" dirty="0" smtClean="0"/>
          </a:p>
          <a:p>
            <a:r>
              <a:rPr lang="en-US" baseline="0" dirty="0" smtClean="0"/>
              <a:t>The application on the VM will need to have an endpoint opened on it to allow inbound traffic from the other service. </a:t>
            </a:r>
          </a:p>
          <a:p>
            <a:r>
              <a:rPr lang="en-US" baseline="0" dirty="0" smtClean="0"/>
              <a:t>To secure connections it is recommended the firewall on the VM be configured to restrict traffic only from the service.</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8</a:t>
            </a:fld>
            <a:endParaRPr lang="en-US" dirty="0"/>
          </a:p>
        </p:txBody>
      </p:sp>
    </p:spTree>
    <p:extLst>
      <p:ext uri="{BB962C8B-B14F-4D97-AF65-F5344CB8AC3E}">
        <p14:creationId xmlns:p14="http://schemas.microsoft.com/office/powerpoint/2010/main" val="20223732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lide Objective:</a:t>
            </a:r>
          </a:p>
          <a:p>
            <a:r>
              <a:rPr lang="en-US" dirty="0" smtClean="0"/>
              <a:t>Connecting</a:t>
            </a:r>
            <a:r>
              <a:rPr lang="en-US" baseline="0" dirty="0" smtClean="0"/>
              <a:t> cloud services with a VNET</a:t>
            </a:r>
          </a:p>
          <a:p>
            <a:endParaRPr lang="en-US" baseline="0" dirty="0" smtClean="0"/>
          </a:p>
          <a:p>
            <a:r>
              <a:rPr lang="en-US" b="1" baseline="0" dirty="0" smtClean="0"/>
              <a:t>Notes:</a:t>
            </a:r>
            <a:endParaRPr lang="en-US" b="1" dirty="0" smtClean="0"/>
          </a:p>
          <a:p>
            <a:r>
              <a:rPr lang="en-US" dirty="0" smtClean="0"/>
              <a:t>In this scenario</a:t>
            </a:r>
            <a:r>
              <a:rPr lang="en-US" baseline="0" dirty="0" smtClean="0"/>
              <a:t> a web/worker role is deployed on the same virtual network as the virtual machines.</a:t>
            </a:r>
          </a:p>
          <a:p>
            <a:endParaRPr lang="en-US" baseline="0" dirty="0" smtClean="0"/>
          </a:p>
          <a:p>
            <a:r>
              <a:rPr lang="en-US" baseline="0" dirty="0" smtClean="0"/>
              <a:t>The benefit is direct connectivity without the need for configuring endpoints on the load balancer. </a:t>
            </a:r>
          </a:p>
          <a:p>
            <a:endParaRPr lang="en-US" baseline="0" dirty="0" smtClean="0"/>
          </a:p>
          <a:p>
            <a:r>
              <a:rPr lang="en-US" baseline="0" dirty="0" smtClean="0"/>
              <a:t>This is a requirement for scenarios like AD that require persistent IP addresses or lots of ports (RPC/COM+).</a:t>
            </a:r>
            <a:endParaRPr lang="en-US"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49</a:t>
            </a:fld>
            <a:endParaRPr lang="en-US" dirty="0"/>
          </a:p>
        </p:txBody>
      </p:sp>
    </p:spTree>
    <p:extLst>
      <p:ext uri="{BB962C8B-B14F-4D97-AF65-F5344CB8AC3E}">
        <p14:creationId xmlns:p14="http://schemas.microsoft.com/office/powerpoint/2010/main" val="3058682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0" baseline="0" dirty="0" smtClean="0"/>
              <a:t>Compare and contrast existing VM Role vs. new persistent virtual machines</a:t>
            </a:r>
            <a:endParaRPr lang="en-US" b="0" dirty="0"/>
          </a:p>
        </p:txBody>
      </p:sp>
      <p:sp>
        <p:nvSpPr>
          <p:cNvPr id="4" name="Slide Number Placeholder 3"/>
          <p:cNvSpPr>
            <a:spLocks noGrp="1"/>
          </p:cNvSpPr>
          <p:nvPr>
            <p:ph type="sldNum" sz="quarter" idx="10"/>
          </p:nvPr>
        </p:nvSpPr>
        <p:spPr/>
        <p:txBody>
          <a:bodyPr/>
          <a:lstStyle/>
          <a:p>
            <a:fld id="{0110E035-3DF4-4A15-9272-486F21423BC9}" type="slidenum">
              <a:rPr lang="en-US" smtClean="0"/>
              <a:t>5</a:t>
            </a:fld>
            <a:endParaRPr lang="en-US"/>
          </a:p>
        </p:txBody>
      </p:sp>
    </p:spTree>
    <p:extLst>
      <p:ext uri="{BB962C8B-B14F-4D97-AF65-F5344CB8AC3E}">
        <p14:creationId xmlns:p14="http://schemas.microsoft.com/office/powerpoint/2010/main" val="367714522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smtClean="0"/>
              <a:t>Slide Objective:</a:t>
            </a:r>
          </a:p>
          <a:p>
            <a:endParaRPr lang="en-US" b="1" baseline="0" dirty="0" smtClean="0"/>
          </a:p>
          <a:p>
            <a:r>
              <a:rPr lang="en-US" b="1" baseline="0" dirty="0" smtClean="0"/>
              <a:t>Notes:</a:t>
            </a:r>
          </a:p>
          <a:p>
            <a:r>
              <a:rPr lang="en-US" baseline="0" dirty="0" smtClean="0"/>
              <a:t>See DEMO-</a:t>
            </a:r>
            <a:r>
              <a:rPr lang="en-US" baseline="0" dirty="0" err="1" smtClean="0"/>
              <a:t>ConnectingCloudServices</a:t>
            </a:r>
            <a:endParaRPr lang="en-US" baseline="0" dirty="0" smtClean="0"/>
          </a:p>
        </p:txBody>
      </p:sp>
      <p:sp>
        <p:nvSpPr>
          <p:cNvPr id="4" name="Slide Number Placeholder 3"/>
          <p:cNvSpPr>
            <a:spLocks noGrp="1"/>
          </p:cNvSpPr>
          <p:nvPr>
            <p:ph type="sldNum" sz="quarter" idx="10"/>
          </p:nvPr>
        </p:nvSpPr>
        <p:spPr/>
        <p:txBody>
          <a:bodyPr/>
          <a:lstStyle/>
          <a:p>
            <a:fld id="{0110E035-3DF4-4A15-9272-486F21423BC9}" type="slidenum">
              <a:rPr lang="en-US" smtClean="0"/>
              <a:t>50</a:t>
            </a:fld>
            <a:endParaRPr lang="en-US"/>
          </a:p>
        </p:txBody>
      </p:sp>
    </p:spTree>
    <p:extLst>
      <p:ext uri="{BB962C8B-B14F-4D97-AF65-F5344CB8AC3E}">
        <p14:creationId xmlns:p14="http://schemas.microsoft.com/office/powerpoint/2010/main" val="1121441051"/>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t>Slide</a:t>
            </a:r>
            <a:r>
              <a:rPr lang="en-US" b="1" baseline="0" dirty="0" smtClean="0"/>
              <a:t> Objective:</a:t>
            </a:r>
          </a:p>
          <a:p>
            <a:r>
              <a:rPr lang="en-US" baseline="0" dirty="0" smtClean="0"/>
              <a:t>Summarize presentation</a:t>
            </a:r>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51</a:t>
            </a:fld>
            <a:endParaRPr lang="en-US"/>
          </a:p>
        </p:txBody>
      </p:sp>
    </p:spTree>
    <p:extLst>
      <p:ext uri="{BB962C8B-B14F-4D97-AF65-F5344CB8AC3E}">
        <p14:creationId xmlns:p14="http://schemas.microsoft.com/office/powerpoint/2010/main" val="122769943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52</a:t>
            </a:fld>
            <a:endParaRPr lang="en-US"/>
          </a:p>
        </p:txBody>
      </p:sp>
    </p:spTree>
    <p:extLst>
      <p:ext uri="{BB962C8B-B14F-4D97-AF65-F5344CB8AC3E}">
        <p14:creationId xmlns:p14="http://schemas.microsoft.com/office/powerpoint/2010/main" val="10960646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Show images available at preview</a:t>
            </a:r>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a:p>
        </p:txBody>
      </p:sp>
    </p:spTree>
    <p:extLst>
      <p:ext uri="{BB962C8B-B14F-4D97-AF65-F5344CB8AC3E}">
        <p14:creationId xmlns:p14="http://schemas.microsoft.com/office/powerpoint/2010/main" val="3460777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0110E035-3DF4-4A15-9272-486F21423BC9}" type="slidenum">
              <a:rPr lang="en-US" smtClean="0"/>
              <a:t>7</a:t>
            </a:fld>
            <a:endParaRPr lang="en-US"/>
          </a:p>
        </p:txBody>
      </p:sp>
    </p:spTree>
    <p:extLst>
      <p:ext uri="{BB962C8B-B14F-4D97-AF65-F5344CB8AC3E}">
        <p14:creationId xmlns:p14="http://schemas.microsoft.com/office/powerpoint/2010/main" val="29548611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172"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r>
              <a:rPr lang="en-US" dirty="0" smtClean="0"/>
              <a:t>Explain</a:t>
            </a:r>
            <a:r>
              <a:rPr lang="en-US" baseline="0" dirty="0" smtClean="0"/>
              <a:t> workflow for provisioning VMs in the cloud </a:t>
            </a:r>
          </a:p>
          <a:p>
            <a:endParaRPr lang="en-US" baseline="0" dirty="0" smtClean="0"/>
          </a:p>
          <a:p>
            <a:r>
              <a:rPr lang="en-US" b="1" baseline="0" dirty="0" smtClean="0"/>
              <a:t>Notes:</a:t>
            </a:r>
            <a:endParaRPr lang="en-US" b="1" dirty="0" smtClean="0"/>
          </a:p>
          <a:p>
            <a:r>
              <a:rPr lang="en-US" dirty="0" smtClean="0"/>
              <a:t>Cloud First Provisioning</a:t>
            </a:r>
            <a:r>
              <a:rPr lang="en-US" baseline="0" dirty="0" smtClean="0"/>
              <a:t> means exactly what is says. Building a VM in the cloud first. </a:t>
            </a:r>
          </a:p>
          <a:p>
            <a:endParaRPr lang="en-US" baseline="0" dirty="0" smtClean="0"/>
          </a:p>
          <a:p>
            <a:r>
              <a:rPr lang="en-US" baseline="0" dirty="0" smtClean="0"/>
              <a:t>You have three methods of starting this process: Build a VM from the portal, from the command line OR programmatically calling the REST API. </a:t>
            </a:r>
          </a:p>
          <a:p>
            <a:endParaRPr lang="en-US" baseline="0" dirty="0" smtClean="0"/>
          </a:p>
          <a:p>
            <a:r>
              <a:rPr lang="en-US" baseline="0" dirty="0" smtClean="0"/>
              <a:t>Once your choice of provisioning is made you will need to select the image and instance size to start from. </a:t>
            </a:r>
          </a:p>
          <a:p>
            <a:endParaRPr lang="en-US" baseline="0" dirty="0" smtClean="0"/>
          </a:p>
          <a:p>
            <a:r>
              <a:rPr lang="en-US" baseline="0" dirty="0" smtClean="0"/>
              <a:t>The newly created disk will be stored in blob storage and your machine will boo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8</a:t>
            </a:fld>
            <a:endParaRPr lang="en-US"/>
          </a:p>
        </p:txBody>
      </p:sp>
    </p:spTree>
    <p:extLst>
      <p:ext uri="{BB962C8B-B14F-4D97-AF65-F5344CB8AC3E}">
        <p14:creationId xmlns:p14="http://schemas.microsoft.com/office/powerpoint/2010/main" val="37581598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458" rtl="0" eaLnBrk="1" fontAlgn="auto" latinLnBrk="0" hangingPunct="1">
              <a:lnSpc>
                <a:spcPct val="100000"/>
              </a:lnSpc>
              <a:spcBef>
                <a:spcPts val="0"/>
              </a:spcBef>
              <a:spcAft>
                <a:spcPts val="0"/>
              </a:spcAft>
              <a:buClrTx/>
              <a:buSzTx/>
              <a:buFontTx/>
              <a:buNone/>
              <a:tabLst/>
              <a:defRPr/>
            </a:pPr>
            <a:r>
              <a:rPr lang="en-US" b="1" dirty="0" smtClean="0"/>
              <a:t>Slide</a:t>
            </a:r>
            <a:r>
              <a:rPr lang="en-US" b="1" baseline="0" dirty="0" smtClean="0"/>
              <a:t> Objective:</a:t>
            </a:r>
          </a:p>
          <a:p>
            <a:pPr defTabSz="924458">
              <a:defRPr/>
            </a:pPr>
            <a:r>
              <a:rPr lang="en-US" b="0" dirty="0" smtClean="0"/>
              <a:t>Explain workflow for bringing your own VHD</a:t>
            </a:r>
            <a:r>
              <a:rPr lang="en-US" b="0" baseline="0" dirty="0" smtClean="0"/>
              <a:t> </a:t>
            </a:r>
          </a:p>
          <a:p>
            <a:pPr defTabSz="924458">
              <a:defRPr/>
            </a:pPr>
            <a:endParaRPr lang="en-US" b="0" baseline="0" dirty="0" smtClean="0"/>
          </a:p>
          <a:p>
            <a:pPr defTabSz="924458">
              <a:defRPr/>
            </a:pPr>
            <a:r>
              <a:rPr lang="en-US" b="1" baseline="0" dirty="0" smtClean="0"/>
              <a:t>Notes:</a:t>
            </a:r>
            <a:endParaRPr lang="en-US" b="1" dirty="0" smtClean="0"/>
          </a:p>
          <a:p>
            <a:pPr defTabSz="924458">
              <a:defRPr/>
            </a:pPr>
            <a:r>
              <a:rPr lang="en-US" dirty="0" smtClean="0"/>
              <a:t>This use case is when you already</a:t>
            </a:r>
            <a:r>
              <a:rPr lang="en-US" baseline="0" dirty="0" smtClean="0"/>
              <a:t> have a “golden image(s)” your company uses for server provisioning or you have a VM running on premises that you would just like to run in our data center. You take the </a:t>
            </a:r>
            <a:r>
              <a:rPr lang="en-US" baseline="0" dirty="0" err="1" smtClean="0"/>
              <a:t>vhd</a:t>
            </a:r>
            <a:r>
              <a:rPr lang="en-US" baseline="0" dirty="0" smtClean="0"/>
              <a:t> – use </a:t>
            </a:r>
            <a:r>
              <a:rPr lang="en-US" baseline="0" dirty="0" err="1" smtClean="0"/>
              <a:t>CSUpload</a:t>
            </a:r>
            <a:r>
              <a:rPr lang="en-US" baseline="0" dirty="0" smtClean="0"/>
              <a:t> or System Center App Controller to upload as a page blob to a storage account. From there use the portal to add as an image (</a:t>
            </a:r>
            <a:r>
              <a:rPr lang="en-US" baseline="0" dirty="0" err="1" smtClean="0"/>
              <a:t>sysprepped</a:t>
            </a:r>
            <a:r>
              <a:rPr lang="en-US" baseline="0" dirty="0" smtClean="0"/>
              <a:t>) or disk (configured VM) and there you can create a VM based off of the </a:t>
            </a:r>
            <a:r>
              <a:rPr lang="en-US" baseline="0" dirty="0" err="1" smtClean="0"/>
              <a:t>vhd</a:t>
            </a:r>
            <a:r>
              <a:rPr lang="en-US" baseline="0" dirty="0" smtClean="0"/>
              <a:t>.</a:t>
            </a:r>
            <a:endParaRPr lang="en-US" dirty="0" smtClean="0"/>
          </a:p>
          <a:p>
            <a:endParaRPr lang="en-US" dirty="0"/>
          </a:p>
        </p:txBody>
      </p:sp>
      <p:sp>
        <p:nvSpPr>
          <p:cNvPr id="4" name="Slide Number Placeholder 3"/>
          <p:cNvSpPr>
            <a:spLocks noGrp="1"/>
          </p:cNvSpPr>
          <p:nvPr>
            <p:ph type="sldNum" sz="quarter" idx="10"/>
          </p:nvPr>
        </p:nvSpPr>
        <p:spPr/>
        <p:txBody>
          <a:bodyPr/>
          <a:lstStyle/>
          <a:p>
            <a:fld id="{0110E035-3DF4-4A15-9272-486F21423BC9}" type="slidenum">
              <a:rPr lang="en-US" smtClean="0"/>
              <a:t>9</a:t>
            </a:fld>
            <a:endParaRPr lang="en-US"/>
          </a:p>
        </p:txBody>
      </p:sp>
    </p:spTree>
    <p:extLst>
      <p:ext uri="{BB962C8B-B14F-4D97-AF65-F5344CB8AC3E}">
        <p14:creationId xmlns:p14="http://schemas.microsoft.com/office/powerpoint/2010/main" val="127623082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6.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wdp"/></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7.xml"/><Relationship Id="rId4" Type="http://schemas.microsoft.com/office/2007/relationships/hdphoto" Target="../media/hdphoto2.wdp"/></Relationships>
</file>

<file path=ppt/slideLayouts/_rels/slideLayout10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 Id="rId5" Type="http://schemas.microsoft.com/office/2007/relationships/hdphoto" Target="../media/hdphoto3.wdp"/><Relationship Id="rId4" Type="http://schemas.openxmlformats.org/officeDocument/2006/relationships/image" Target="../media/image5.png"/></Relationships>
</file>

<file path=ppt/slideLayouts/_rels/slideLayout10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7.xml"/><Relationship Id="rId4" Type="http://schemas.microsoft.com/office/2007/relationships/hdphoto" Target="../media/hdphoto13.wdp"/></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7.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4.jpg"/><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6.jpg"/><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7.jp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30.jp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3.jpg"/><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4.jpg"/><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1.xml"/><Relationship Id="rId4" Type="http://schemas.microsoft.com/office/2007/relationships/hdphoto" Target="../media/hdphoto4.wdp"/></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1.xml"/><Relationship Id="rId4" Type="http://schemas.microsoft.com/office/2007/relationships/hdphoto" Target="../media/hdphoto2.wdp"/></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3.xml"/><Relationship Id="rId4" Type="http://schemas.microsoft.com/office/2007/relationships/hdphoto" Target="../media/hdphoto2.wdp"/></Relationships>
</file>

<file path=ppt/slideLayouts/_rels/slideLayout2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3.xml"/><Relationship Id="rId4" Type="http://schemas.microsoft.com/office/2007/relationships/hdphoto" Target="../media/hdphoto6.wdp"/></Relationships>
</file>

<file path=ppt/slideLayouts/_rels/slideLayout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3.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7.wdp"/></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4.xml"/><Relationship Id="rId4" Type="http://schemas.microsoft.com/office/2007/relationships/hdphoto" Target="../media/hdphoto8.wdp"/></Relationships>
</file>

<file path=ppt/slideLayouts/_rels/slideLayout46.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4.xml"/><Relationship Id="rId4" Type="http://schemas.microsoft.com/office/2007/relationships/hdphoto" Target="../media/hdphoto9.wdp"/></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9.jpg"/><Relationship Id="rId1" Type="http://schemas.openxmlformats.org/officeDocument/2006/relationships/slideMaster" Target="../slideMasters/slideMaster4.xml"/><Relationship Id="rId6" Type="http://schemas.microsoft.com/office/2007/relationships/hdphoto" Target="../media/hdphoto7.wdp"/><Relationship Id="rId5" Type="http://schemas.openxmlformats.org/officeDocument/2006/relationships/image" Target="../media/image19.png"/><Relationship Id="rId4" Type="http://schemas.microsoft.com/office/2007/relationships/hdphoto" Target="../media/hdphoto10.wdp"/></Relationships>
</file>

<file path=ppt/slideLayouts/_rels/slideLayout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 Id="rId5" Type="http://schemas.microsoft.com/office/2007/relationships/hdphoto" Target="../media/hdphoto3.wdp"/><Relationship Id="rId4" Type="http://schemas.openxmlformats.org/officeDocument/2006/relationships/image" Target="../media/image5.png"/></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wdp"/></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png"/><Relationship Id="rId1" Type="http://schemas.openxmlformats.org/officeDocument/2006/relationships/slideMaster" Target="../slideMasters/slideMaster5.xml"/><Relationship Id="rId4" Type="http://schemas.microsoft.com/office/2007/relationships/hdphoto" Target="../media/hdphoto2.wdp"/></Relationships>
</file>

<file path=ppt/slideLayouts/_rels/slideLayout6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 Id="rId5" Type="http://schemas.microsoft.com/office/2007/relationships/hdphoto" Target="../media/hdphoto3.wdp"/><Relationship Id="rId4" Type="http://schemas.openxmlformats.org/officeDocument/2006/relationships/image" Target="../media/image5.png"/></Relationships>
</file>

<file path=ppt/slideLayouts/_rels/slideLayout68.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g"/><Relationship Id="rId1" Type="http://schemas.openxmlformats.org/officeDocument/2006/relationships/slideMaster" Target="../slideMasters/slideMaster5.xml"/><Relationship Id="rId4" Type="http://schemas.microsoft.com/office/2007/relationships/hdphoto" Target="../media/hdphoto11.wdp"/></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5.xml"/><Relationship Id="rId6" Type="http://schemas.microsoft.com/office/2007/relationships/hdphoto" Target="../media/hdphoto1.wdp"/><Relationship Id="rId5" Type="http://schemas.openxmlformats.org/officeDocument/2006/relationships/image" Target="../media/image3.png"/><Relationship Id="rId4" Type="http://schemas.microsoft.com/office/2007/relationships/hdphoto" Target="../media/hdphoto5.wdp"/></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3.emf"/><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Master" Target="../slideMasters/slideMaster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7.wdp"/></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png"/><Relationship Id="rId1" Type="http://schemas.openxmlformats.org/officeDocument/2006/relationships/slideMaster" Target="../slideMasters/slideMaster6.xml"/><Relationship Id="rId4" Type="http://schemas.microsoft.com/office/2007/relationships/hdphoto" Target="../media/hdphoto8.wdp"/></Relationships>
</file>

<file path=ppt/slideLayouts/_rels/slideLayout87.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jpg"/><Relationship Id="rId1" Type="http://schemas.openxmlformats.org/officeDocument/2006/relationships/slideMaster" Target="../slideMasters/slideMaster6.xml"/><Relationship Id="rId4" Type="http://schemas.microsoft.com/office/2007/relationships/hdphoto" Target="../media/hdphoto12.wdp"/></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514422698"/>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endParaRPr lang="en-US"/>
          </a:p>
        </p:txBody>
      </p:sp>
    </p:spTree>
    <p:extLst>
      <p:ext uri="{BB962C8B-B14F-4D97-AF65-F5344CB8AC3E}">
        <p14:creationId xmlns:p14="http://schemas.microsoft.com/office/powerpoint/2010/main" val="694048539"/>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69"/>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322"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07"/>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85773209"/>
      </p:ext>
    </p:extLst>
  </p:cSld>
  <p:clrMapOvr>
    <a:masterClrMapping/>
  </p:clrMapOvr>
  <p:transition>
    <p:fade/>
  </p:transition>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32107534"/>
      </p:ext>
    </p:extLst>
  </p:cSld>
  <p:clrMapOvr>
    <a:masterClrMapping/>
  </p:clrMapOvr>
  <p:transition>
    <p:fade/>
  </p:transition>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042" indent="-345042">
              <a:buClr>
                <a:srgbClr val="FFFFFF"/>
              </a:buClr>
              <a:buSzPct val="70000"/>
              <a:buFontTx/>
              <a:buBlip>
                <a:blip r:embed="rId2"/>
              </a:buBlip>
              <a:defRPr>
                <a:gradFill>
                  <a:gsLst>
                    <a:gs pos="0">
                      <a:srgbClr val="FFFFFF"/>
                    </a:gs>
                    <a:gs pos="86000">
                      <a:srgbClr val="FFFFFF"/>
                    </a:gs>
                  </a:gsLst>
                  <a:lin ang="5400000" scaled="0"/>
                </a:gradFill>
              </a:defRPr>
            </a:lvl1pPr>
            <a:lvl2pPr marL="641321" indent="-296277">
              <a:buClr>
                <a:srgbClr val="FFFFFF"/>
              </a:buClr>
              <a:buSzPct val="70000"/>
              <a:buFontTx/>
              <a:buBlip>
                <a:blip r:embed="rId2"/>
              </a:buBlip>
              <a:defRPr>
                <a:gradFill>
                  <a:gsLst>
                    <a:gs pos="0">
                      <a:srgbClr val="FFFFFF"/>
                    </a:gs>
                    <a:gs pos="86000">
                      <a:srgbClr val="FFFFFF"/>
                    </a:gs>
                  </a:gsLst>
                  <a:lin ang="5400000" scaled="0"/>
                </a:gradFill>
              </a:defRPr>
            </a:lvl2pPr>
            <a:lvl3pPr marL="943551" indent="-302230">
              <a:buClr>
                <a:srgbClr val="FFFFFF"/>
              </a:buClr>
              <a:buSzPct val="70000"/>
              <a:buFontTx/>
              <a:buBlip>
                <a:blip r:embed="rId2"/>
              </a:buBlip>
              <a:defRPr>
                <a:gradFill>
                  <a:gsLst>
                    <a:gs pos="0">
                      <a:srgbClr val="FFFFFF"/>
                    </a:gs>
                    <a:gs pos="86000">
                      <a:srgbClr val="FFFFFF"/>
                    </a:gs>
                  </a:gsLst>
                  <a:lin ang="5400000" scaled="0"/>
                </a:gradFill>
              </a:defRPr>
            </a:lvl3pPr>
            <a:lvl4pPr marL="1202926" indent="-259382">
              <a:buClr>
                <a:srgbClr val="FFFFFF"/>
              </a:buClr>
              <a:buSzPct val="70000"/>
              <a:buFontTx/>
              <a:buBlip>
                <a:blip r:embed="rId2"/>
              </a:buBlip>
              <a:defRPr>
                <a:gradFill>
                  <a:gsLst>
                    <a:gs pos="0">
                      <a:srgbClr val="FFFFFF"/>
                    </a:gs>
                    <a:gs pos="86000">
                      <a:srgbClr val="FFFFFF"/>
                    </a:gs>
                  </a:gsLst>
                  <a:lin ang="5400000" scaled="0"/>
                </a:gradFill>
              </a:defRPr>
            </a:lvl4pPr>
            <a:lvl5pPr marL="1455186" indent="-252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16" tIns="57098" rIns="114216" bIns="57098"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585805752"/>
      </p:ext>
    </p:extLst>
  </p:cSld>
  <p:clrMapOvr>
    <a:masterClrMapping/>
  </p:clrMapOvr>
  <p:transition>
    <p:fade/>
  </p:transition>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36"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37" y="3459256"/>
            <a:ext cx="4091815" cy="858697"/>
          </a:xfrm>
        </p:spPr>
        <p:txBody>
          <a:bodyPr/>
          <a:lstStyle>
            <a:lvl1pPr marL="0" indent="0">
              <a:buFont typeface="Arial" pitchFamily="34" charset="0"/>
              <a:buNone/>
              <a:defRPr sz="1800">
                <a:solidFill>
                  <a:schemeClr val="bg1">
                    <a:alpha val="98000"/>
                  </a:schemeClr>
                </a:solidFill>
                <a:latin typeface="+mj-lt"/>
              </a:defRPr>
            </a:lvl1pPr>
            <a:lvl2pPr marL="345327" indent="0">
              <a:buFont typeface="Arial" pitchFamily="34" charset="0"/>
              <a:buNone/>
              <a:defRPr/>
            </a:lvl2pPr>
            <a:lvl3pPr marL="641833" indent="0">
              <a:buFont typeface="Arial" pitchFamily="34" charset="0"/>
              <a:buNone/>
              <a:defRPr/>
            </a:lvl3pPr>
            <a:lvl4pPr marL="944292" indent="0">
              <a:buFont typeface="Arial" pitchFamily="34" charset="0"/>
              <a:buNone/>
              <a:defRPr/>
            </a:lvl4pPr>
            <a:lvl5pPr marL="1203883"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3714368883"/>
      </p:ext>
    </p:extLst>
  </p:cSld>
  <p:clrMapOvr>
    <a:masterClrMapping/>
  </p:clrMapOvr>
  <p:transition>
    <p:fade/>
  </p:transition>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292" indent="-30245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883" indent="-259591">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329" indent="-25244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544483102"/>
      </p:ext>
    </p:extLst>
  </p:cSld>
  <p:clrMapOvr>
    <a:masterClrMapping/>
  </p:clrMapOvr>
  <p:transition>
    <p:fade/>
  </p:transition>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800" indent="-2572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209" indent="-257209">
              <a:spcBef>
                <a:spcPts val="0"/>
              </a:spcBef>
              <a:spcAft>
                <a:spcPts val="300"/>
              </a:spcAft>
              <a:buFont typeface="Arial" pitchFamily="34" charset="0"/>
              <a:buChar char="•"/>
              <a:defRPr/>
            </a:lvl5pPr>
            <a:lvl6pPr marL="775200" indent="-257209">
              <a:buFont typeface="Arial" pitchFamily="34" charset="0"/>
              <a:buChar char="•"/>
              <a:defRPr sz="1800">
                <a:gradFill>
                  <a:gsLst>
                    <a:gs pos="0">
                      <a:srgbClr val="595959"/>
                    </a:gs>
                    <a:gs pos="86000">
                      <a:srgbClr val="595959"/>
                    </a:gs>
                  </a:gsLst>
                  <a:lin ang="5400000" scaled="0"/>
                </a:gradFill>
              </a:defRPr>
            </a:lvl6pPr>
            <a:lvl7pPr marL="941910" indent="-169091">
              <a:defRPr>
                <a:gradFill>
                  <a:gsLst>
                    <a:gs pos="0">
                      <a:srgbClr val="595959"/>
                    </a:gs>
                    <a:gs pos="86000">
                      <a:srgbClr val="595959"/>
                    </a:gs>
                  </a:gsLst>
                  <a:lin ang="5400000" scaled="0"/>
                </a:gradFill>
              </a:defRPr>
            </a:lvl7pPr>
            <a:lvl8pPr marL="1115765" indent="-173854">
              <a:defRPr>
                <a:gradFill>
                  <a:gsLst>
                    <a:gs pos="0">
                      <a:srgbClr val="595959"/>
                    </a:gs>
                    <a:gs pos="86000">
                      <a:srgbClr val="595959"/>
                    </a:gs>
                  </a:gsLst>
                  <a:lin ang="5400000" scaled="0"/>
                </a:gradFill>
              </a:defRPr>
            </a:lvl8pPr>
          </a:lstStyle>
          <a:p>
            <a:pPr marL="259591" lvl="0" indent="-259591" algn="l" defTabSz="685864" rtl="0" eaLnBrk="1" latinLnBrk="0" hangingPunct="1">
              <a:lnSpc>
                <a:spcPct val="90000"/>
              </a:lnSpc>
              <a:spcBef>
                <a:spcPct val="20000"/>
              </a:spcBef>
              <a:buSzPct val="90000"/>
              <a:buFont typeface="Arial" pitchFamily="34" charset="0"/>
              <a:buChar char="•"/>
            </a:pPr>
            <a:r>
              <a:rPr lang="en-US" smtClean="0"/>
              <a:t>Click to edit Master text styles</a:t>
            </a:r>
          </a:p>
          <a:p>
            <a:pPr marL="259591" lvl="1" indent="-259591" algn="l" defTabSz="685864" rtl="0" eaLnBrk="1" latinLnBrk="0" hangingPunct="1">
              <a:lnSpc>
                <a:spcPct val="90000"/>
              </a:lnSpc>
              <a:spcBef>
                <a:spcPct val="20000"/>
              </a:spcBef>
              <a:buSzPct val="90000"/>
              <a:buFont typeface="Arial" pitchFamily="34" charset="0"/>
              <a:buChar char="•"/>
            </a:pPr>
            <a:r>
              <a:rPr lang="en-US" smtClean="0"/>
              <a:t>Second level</a:t>
            </a:r>
          </a:p>
          <a:p>
            <a:pPr marL="259591" lvl="2" indent="-259591" algn="l" defTabSz="685864" rtl="0" eaLnBrk="1" latinLnBrk="0" hangingPunct="1">
              <a:lnSpc>
                <a:spcPct val="90000"/>
              </a:lnSpc>
              <a:spcBef>
                <a:spcPct val="20000"/>
              </a:spcBef>
              <a:buSzPct val="90000"/>
              <a:buFont typeface="Arial" pitchFamily="34" charset="0"/>
              <a:buChar char="•"/>
            </a:pPr>
            <a:r>
              <a:rPr lang="en-US" smtClean="0"/>
              <a:t>Third level</a:t>
            </a:r>
          </a:p>
          <a:p>
            <a:pPr marL="259591" lvl="3" indent="-259591" algn="l" defTabSz="685864" rtl="0" eaLnBrk="1" latinLnBrk="0" hangingPunct="1">
              <a:lnSpc>
                <a:spcPct val="90000"/>
              </a:lnSpc>
              <a:spcBef>
                <a:spcPct val="20000"/>
              </a:spcBef>
              <a:buSzPct val="90000"/>
              <a:buFont typeface="Arial" pitchFamily="34" charset="0"/>
              <a:buChar char="•"/>
            </a:pPr>
            <a:r>
              <a:rPr lang="en-US" smtClean="0"/>
              <a:t>Fourth level</a:t>
            </a:r>
          </a:p>
          <a:p>
            <a:pPr marL="259591" lvl="4" indent="-259591" algn="l" defTabSz="685864"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27732497"/>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6019" indent="-256019">
              <a:lnSpc>
                <a:spcPct val="90000"/>
              </a:lnSpc>
              <a:buSzPct val="80000"/>
              <a:buFont typeface="Arial" pitchFamily="34" charset="0"/>
              <a:buChar char="•"/>
              <a:defRPr sz="2400"/>
            </a:lvl1pPr>
            <a:lvl2pPr marL="470360" indent="-214341">
              <a:lnSpc>
                <a:spcPct val="90000"/>
              </a:lnSpc>
              <a:buSzPct val="80000"/>
              <a:buFont typeface="Arial" pitchFamily="34" charset="0"/>
              <a:buChar char="•"/>
              <a:defRPr sz="2100"/>
            </a:lvl2pPr>
            <a:lvl3pPr marL="685891" indent="-215532">
              <a:lnSpc>
                <a:spcPct val="90000"/>
              </a:lnSpc>
              <a:buSzPct val="80000"/>
              <a:buFont typeface="Arial" pitchFamily="34" charset="0"/>
              <a:buChar char="•"/>
              <a:defRPr sz="1800"/>
            </a:lvl3pPr>
            <a:lvl4pPr marL="1284856" indent="-169091">
              <a:lnSpc>
                <a:spcPct val="90000"/>
              </a:lnSpc>
              <a:buSzPct val="80000"/>
              <a:buFont typeface="Arial" pitchFamily="34" charset="0"/>
              <a:buChar char="•"/>
              <a:defRPr sz="1500"/>
            </a:lvl4pPr>
            <a:lvl5pPr marL="1458710" indent="-17385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946" indent="-34294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965" indent="-34294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568" indent="-2572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974" indent="-2572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2065" indent="-2572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6019" lvl="0" indent="-256019" algn="l" defTabSz="685864" rtl="0" eaLnBrk="1" latinLnBrk="0" hangingPunct="1">
              <a:lnSpc>
                <a:spcPct val="90000"/>
              </a:lnSpc>
              <a:spcBef>
                <a:spcPct val="20000"/>
              </a:spcBef>
              <a:buSzPct val="80000"/>
              <a:buFont typeface="Arial" pitchFamily="34" charset="0"/>
              <a:buChar char="•"/>
            </a:pPr>
            <a:r>
              <a:rPr lang="en-US" smtClean="0"/>
              <a:t>Click to edit Master text styles</a:t>
            </a:r>
          </a:p>
          <a:p>
            <a:pPr marL="256019" lvl="1" indent="-256019" algn="l" defTabSz="685864" rtl="0" eaLnBrk="1" latinLnBrk="0" hangingPunct="1">
              <a:lnSpc>
                <a:spcPct val="90000"/>
              </a:lnSpc>
              <a:spcBef>
                <a:spcPct val="20000"/>
              </a:spcBef>
              <a:buSzPct val="80000"/>
              <a:buFont typeface="Arial" pitchFamily="34" charset="0"/>
              <a:buChar char="•"/>
            </a:pPr>
            <a:r>
              <a:rPr lang="en-US" smtClean="0"/>
              <a:t>Second level</a:t>
            </a:r>
          </a:p>
          <a:p>
            <a:pPr marL="256019" lvl="2" indent="-256019" algn="l" defTabSz="685864" rtl="0" eaLnBrk="1" latinLnBrk="0" hangingPunct="1">
              <a:lnSpc>
                <a:spcPct val="90000"/>
              </a:lnSpc>
              <a:spcBef>
                <a:spcPct val="20000"/>
              </a:spcBef>
              <a:buSzPct val="80000"/>
              <a:buFont typeface="Arial" pitchFamily="34" charset="0"/>
              <a:buChar char="•"/>
            </a:pPr>
            <a:r>
              <a:rPr lang="en-US" smtClean="0"/>
              <a:t>Third level</a:t>
            </a:r>
          </a:p>
          <a:p>
            <a:pPr marL="256019" lvl="3" indent="-256019" algn="l" defTabSz="685864" rtl="0" eaLnBrk="1" latinLnBrk="0" hangingPunct="1">
              <a:lnSpc>
                <a:spcPct val="90000"/>
              </a:lnSpc>
              <a:spcBef>
                <a:spcPct val="20000"/>
              </a:spcBef>
              <a:buSzPct val="80000"/>
              <a:buFont typeface="Arial" pitchFamily="34" charset="0"/>
              <a:buChar char="•"/>
            </a:pPr>
            <a:r>
              <a:rPr lang="en-US" smtClean="0"/>
              <a:t>Fourth level</a:t>
            </a:r>
          </a:p>
          <a:p>
            <a:pPr marL="256019" lvl="4" indent="-256019" algn="l" defTabSz="685864"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516102613"/>
      </p:ext>
    </p:extLst>
  </p:cSld>
  <p:clrMapOvr>
    <a:masterClrMapping/>
  </p:clrMapOvr>
  <p:transition>
    <p:fade/>
  </p:transition>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0" y="1700097"/>
            <a:ext cx="4114800" cy="1458861"/>
          </a:xfrm>
        </p:spPr>
        <p:txBody>
          <a:bodyPr/>
          <a:lstStyle>
            <a:lvl1pPr marL="302459" indent="-302459">
              <a:buSzPct val="80000"/>
              <a:buFont typeface="Arial" pitchFamily="34" charset="0"/>
              <a:buChar char="•"/>
              <a:defRPr sz="2100"/>
            </a:lvl1pPr>
            <a:lvl2pPr marL="558478" indent="-241729">
              <a:buSzPct val="80000"/>
              <a:buFont typeface="Arial" pitchFamily="34" charset="0"/>
              <a:buChar char="•"/>
              <a:defRPr sz="2100"/>
            </a:lvl2pPr>
            <a:lvl3pPr marL="770437" indent="-211960" defTabSz="772819">
              <a:buSzPct val="80000"/>
              <a:buFont typeface="Arial" pitchFamily="34" charset="0"/>
              <a:buChar char="•"/>
              <a:defRPr sz="1800"/>
            </a:lvl3pPr>
            <a:lvl4pPr marL="988351" indent="-215532">
              <a:buSzPct val="80000"/>
              <a:buFont typeface="Arial" pitchFamily="34" charset="0"/>
              <a:buChar char="•"/>
              <a:defRPr sz="1500"/>
            </a:lvl4pPr>
            <a:lvl5pPr marL="1156251" indent="-167901">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0"/>
            <a:ext cx="4115872" cy="332399"/>
          </a:xfrm>
        </p:spPr>
        <p:txBody>
          <a:bodyPr anchor="b"/>
          <a:lstStyle>
            <a:lvl1pPr marL="0" indent="0">
              <a:lnSpc>
                <a:spcPct val="90000"/>
              </a:lnSpc>
              <a:spcBef>
                <a:spcPts val="0"/>
              </a:spcBef>
              <a:buNone/>
              <a:defRPr sz="2400" b="0">
                <a:latin typeface="Segoe UI Light" pitchFamily="34" charset="0"/>
              </a:defRPr>
            </a:lvl1pPr>
            <a:lvl2pPr marL="342932" indent="0">
              <a:buNone/>
              <a:defRPr sz="1500" b="1"/>
            </a:lvl2pPr>
            <a:lvl3pPr marL="685864" indent="0">
              <a:buNone/>
              <a:defRPr sz="1400" b="1"/>
            </a:lvl3pPr>
            <a:lvl4pPr marL="1028796" indent="0">
              <a:buNone/>
              <a:defRPr sz="1200" b="1"/>
            </a:lvl4pPr>
            <a:lvl5pPr marL="1371728" indent="0">
              <a:buNone/>
              <a:defRPr sz="1200" b="1"/>
            </a:lvl5pPr>
            <a:lvl6pPr marL="1714660" indent="0">
              <a:buNone/>
              <a:defRPr sz="1200" b="1"/>
            </a:lvl6pPr>
            <a:lvl7pPr marL="2057592" indent="0">
              <a:buNone/>
              <a:defRPr sz="1200" b="1"/>
            </a:lvl7pPr>
            <a:lvl8pPr marL="2400524" indent="0">
              <a:buNone/>
              <a:defRPr sz="1200" b="1"/>
            </a:lvl8pPr>
            <a:lvl9pPr marL="2743456"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7"/>
            <a:ext cx="4115872" cy="1458861"/>
          </a:xfrm>
        </p:spPr>
        <p:txBody>
          <a:bodyPr/>
          <a:lstStyle>
            <a:lvl1pPr marL="222270" indent="-222270">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46" indent="-34294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58" indent="-2572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30028" indent="-2572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87" indent="-2572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30028" indent="-257209">
              <a:defRPr sz="1200"/>
            </a:lvl6pPr>
            <a:lvl7pPr marL="1202692" indent="-214341">
              <a:defRPr sz="1200"/>
            </a:lvl7pPr>
            <a:lvl8pPr>
              <a:defRPr sz="1200"/>
            </a:lvl8pPr>
            <a:lvl9pPr>
              <a:defRPr sz="1200"/>
            </a:lvl9pPr>
          </a:lstStyle>
          <a:p>
            <a:pPr marL="302459" lvl="0" indent="-302459" algn="l" defTabSz="685864" rtl="0" eaLnBrk="1" latinLnBrk="0" hangingPunct="1">
              <a:lnSpc>
                <a:spcPct val="90000"/>
              </a:lnSpc>
              <a:spcBef>
                <a:spcPct val="20000"/>
              </a:spcBef>
              <a:buSzPct val="80000"/>
            </a:pPr>
            <a:r>
              <a:rPr lang="en-US" smtClean="0"/>
              <a:t>Click to edit Master text styles</a:t>
            </a:r>
          </a:p>
          <a:p>
            <a:pPr marL="302459" lvl="1" indent="-302459" algn="l" defTabSz="685864" rtl="0" eaLnBrk="1" latinLnBrk="0" hangingPunct="1">
              <a:lnSpc>
                <a:spcPct val="90000"/>
              </a:lnSpc>
              <a:spcBef>
                <a:spcPct val="20000"/>
              </a:spcBef>
              <a:buSzPct val="80000"/>
            </a:pPr>
            <a:r>
              <a:rPr lang="en-US" smtClean="0"/>
              <a:t>Second level</a:t>
            </a:r>
          </a:p>
          <a:p>
            <a:pPr marL="302459" lvl="2" indent="-302459" algn="l" defTabSz="685864" rtl="0" eaLnBrk="1" latinLnBrk="0" hangingPunct="1">
              <a:lnSpc>
                <a:spcPct val="90000"/>
              </a:lnSpc>
              <a:spcBef>
                <a:spcPct val="20000"/>
              </a:spcBef>
              <a:buSzPct val="80000"/>
            </a:pPr>
            <a:r>
              <a:rPr lang="en-US" smtClean="0"/>
              <a:t>Third level</a:t>
            </a:r>
          </a:p>
          <a:p>
            <a:pPr marL="302459" lvl="3" indent="-302459" algn="l" defTabSz="685864" rtl="0" eaLnBrk="1" latinLnBrk="0" hangingPunct="1">
              <a:lnSpc>
                <a:spcPct val="90000"/>
              </a:lnSpc>
              <a:spcBef>
                <a:spcPct val="20000"/>
              </a:spcBef>
              <a:buSzPct val="80000"/>
            </a:pPr>
            <a:r>
              <a:rPr lang="en-US" smtClean="0"/>
              <a:t>Fourth level</a:t>
            </a:r>
          </a:p>
          <a:p>
            <a:pPr marL="302459" lvl="4" indent="-302459" algn="l" defTabSz="685864"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2317512256"/>
      </p:ext>
    </p:extLst>
  </p:cSld>
  <p:clrMapOvr>
    <a:masterClrMapping/>
  </p:clrMapOvr>
  <p:transition>
    <p:fade/>
  </p:transition>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606205921"/>
      </p:ext>
    </p:extLst>
  </p:cSld>
  <p:clrMapOvr>
    <a:masterClrMapping/>
  </p:clrMapOvr>
  <p:transition>
    <p:fade/>
  </p:transition>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3" y="4779410"/>
            <a:ext cx="1261769" cy="146626"/>
          </a:xfrm>
          <a:prstGeom prst="rect">
            <a:avLst/>
          </a:prstGeom>
        </p:spPr>
      </p:pic>
    </p:spTree>
    <p:extLst>
      <p:ext uri="{BB962C8B-B14F-4D97-AF65-F5344CB8AC3E}">
        <p14:creationId xmlns:p14="http://schemas.microsoft.com/office/powerpoint/2010/main" val="1787630738"/>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3525683714"/>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2" tIns="34282" rIns="68562" bIns="34282" numCol="1" spcCol="0" rtlCol="0" anchor="ctr" anchorCtr="0" compatLnSpc="1">
            <a:prstTxWarp prst="textNoShape">
              <a:avLst/>
            </a:prstTxWarp>
          </a:bodyPr>
          <a:lstStyle/>
          <a:p>
            <a:pPr algn="ctr" defTabSz="685432"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864"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46"/>
            <a:ext cx="5210341" cy="931409"/>
          </a:xfrm>
        </p:spPr>
        <p:txBody>
          <a:bodyPr lIns="137178" tIns="137178" anchor="ctr" anchorCtr="0"/>
          <a:lstStyle>
            <a:lvl1pPr marL="431064" indent="-428682">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91" indent="-2572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864" rtl="0" eaLnBrk="1" latinLnBrk="0" hangingPunct="1">
              <a:lnSpc>
                <a:spcPct val="90000"/>
              </a:lnSpc>
              <a:spcBef>
                <a:spcPts val="0"/>
              </a:spcBef>
              <a:spcAft>
                <a:spcPts val="675"/>
              </a:spcAft>
              <a:buSzPct val="80000"/>
            </a:pPr>
            <a:r>
              <a:rPr lang="en-US" smtClean="0"/>
              <a:t>Click to edit Master text styles</a:t>
            </a:r>
          </a:p>
          <a:p>
            <a:pPr marL="2382" lvl="1" indent="0" algn="l" defTabSz="685864"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37" tIns="30869" rIns="61737" bIns="30869" numCol="1" anchor="t" anchorCtr="0" compatLnSpc="1">
            <a:prstTxWarp prst="textNoShape">
              <a:avLst/>
            </a:prstTxWarp>
          </a:bodyPr>
          <a:lstStyle/>
          <a:p>
            <a:pPr defTabSz="914362"/>
            <a:endParaRPr lang="en-US" sz="1200">
              <a:solidFill>
                <a:srgbClr val="292929"/>
              </a:solidFill>
            </a:endParaRPr>
          </a:p>
        </p:txBody>
      </p:sp>
    </p:spTree>
    <p:extLst>
      <p:ext uri="{BB962C8B-B14F-4D97-AF65-F5344CB8AC3E}">
        <p14:creationId xmlns:p14="http://schemas.microsoft.com/office/powerpoint/2010/main" val="204300447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5"/>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3854083407"/>
      </p:ext>
    </p:extLst>
  </p:cSld>
  <p:clrMapOvr>
    <a:masterClrMapping/>
  </p:clrMapOvr>
  <p:transition>
    <p:fade/>
  </p:transition>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5"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9" tIns="34295" rIns="68589" bIns="34295" numCol="1" anchor="t" anchorCtr="0" compatLnSpc="1">
            <a:prstTxWarp prst="textNoShape">
              <a:avLst/>
            </a:prstTxWarp>
          </a:bodyPr>
          <a:lstStyle/>
          <a:p>
            <a:pPr defTabSz="914400"/>
            <a:endParaRPr lang="en-US">
              <a:solidFill>
                <a:srgbClr val="292929"/>
              </a:solidFill>
            </a:endParaRPr>
          </a:p>
        </p:txBody>
      </p:sp>
    </p:spTree>
    <p:extLst>
      <p:ext uri="{BB962C8B-B14F-4D97-AF65-F5344CB8AC3E}">
        <p14:creationId xmlns:p14="http://schemas.microsoft.com/office/powerpoint/2010/main" val="272291446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198"/>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400"/>
              <a:endParaRPr lang="en-US" sz="1200">
                <a:solidFill>
                  <a:srgbClr val="292929"/>
                </a:solidFill>
              </a:endParaRPr>
            </a:p>
          </p:txBody>
        </p:sp>
      </p:grpSp>
    </p:spTree>
    <p:extLst>
      <p:ext uri="{BB962C8B-B14F-4D97-AF65-F5344CB8AC3E}">
        <p14:creationId xmlns:p14="http://schemas.microsoft.com/office/powerpoint/2010/main" val="3257515318"/>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3"/>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37" tIns="30869" rIns="61737" bIns="30869" numCol="1" anchor="t" anchorCtr="0" compatLnSpc="1">
            <a:prstTxWarp prst="textNoShape">
              <a:avLst/>
            </a:prstTxWarp>
          </a:bodyPr>
          <a:lstStyle/>
          <a:p>
            <a:pPr defTabSz="914400"/>
            <a:endParaRPr lang="en-US" sz="1200">
              <a:solidFill>
                <a:srgbClr val="292929"/>
              </a:solidFill>
            </a:endParaRPr>
          </a:p>
        </p:txBody>
      </p:sp>
    </p:spTree>
    <p:extLst>
      <p:ext uri="{BB962C8B-B14F-4D97-AF65-F5344CB8AC3E}">
        <p14:creationId xmlns:p14="http://schemas.microsoft.com/office/powerpoint/2010/main" val="696237699"/>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0"/>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4"/>
            <a:ext cx="3154788" cy="346249"/>
          </a:xfrm>
        </p:spPr>
        <p:txBody>
          <a:bodyPr>
            <a:noAutofit/>
          </a:bodyPr>
          <a:lstStyle>
            <a:lvl1pPr marL="0" indent="0" algn="l" defTabSz="685864"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932" indent="0" algn="ctr">
              <a:buNone/>
              <a:defRPr>
                <a:solidFill>
                  <a:schemeClr val="tx1">
                    <a:tint val="75000"/>
                  </a:schemeClr>
                </a:solidFill>
              </a:defRPr>
            </a:lvl2pPr>
            <a:lvl3pPr marL="685864" indent="0" algn="ctr">
              <a:buNone/>
              <a:defRPr>
                <a:solidFill>
                  <a:schemeClr val="tx1">
                    <a:tint val="75000"/>
                  </a:schemeClr>
                </a:solidFill>
              </a:defRPr>
            </a:lvl3pPr>
            <a:lvl4pPr marL="1028796" indent="0" algn="ctr">
              <a:buNone/>
              <a:defRPr>
                <a:solidFill>
                  <a:schemeClr val="tx1">
                    <a:tint val="75000"/>
                  </a:schemeClr>
                </a:solidFill>
              </a:defRPr>
            </a:lvl4pPr>
            <a:lvl5pPr marL="1371728" indent="0" algn="ctr">
              <a:buNone/>
              <a:defRPr>
                <a:solidFill>
                  <a:schemeClr val="tx1">
                    <a:tint val="75000"/>
                  </a:schemeClr>
                </a:solidFill>
              </a:defRPr>
            </a:lvl5pPr>
            <a:lvl6pPr marL="1714660" indent="0" algn="ctr">
              <a:buNone/>
              <a:defRPr>
                <a:solidFill>
                  <a:schemeClr val="tx1">
                    <a:tint val="75000"/>
                  </a:schemeClr>
                </a:solidFill>
              </a:defRPr>
            </a:lvl6pPr>
            <a:lvl7pPr marL="2057592" indent="0" algn="ctr">
              <a:buNone/>
              <a:defRPr>
                <a:solidFill>
                  <a:schemeClr val="tx1">
                    <a:tint val="75000"/>
                  </a:schemeClr>
                </a:solidFill>
              </a:defRPr>
            </a:lvl7pPr>
            <a:lvl8pPr marL="2400524" indent="0" algn="ctr">
              <a:buNone/>
              <a:defRPr>
                <a:solidFill>
                  <a:schemeClr val="tx1">
                    <a:tint val="75000"/>
                  </a:schemeClr>
                </a:solidFill>
              </a:defRPr>
            </a:lvl8pPr>
            <a:lvl9pPr marL="2743456"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3" y="3120390"/>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4"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US">
                <a:solidFill>
                  <a:srgbClr val="292929"/>
                </a:solidFill>
              </a:endParaRPr>
            </a:p>
          </p:txBody>
        </p:sp>
      </p:grpSp>
    </p:spTree>
    <p:extLst>
      <p:ext uri="{BB962C8B-B14F-4D97-AF65-F5344CB8AC3E}">
        <p14:creationId xmlns:p14="http://schemas.microsoft.com/office/powerpoint/2010/main" val="620251386"/>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0"/>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36"/>
            <a:ext cx="1880410" cy="218515"/>
          </a:xfrm>
          <a:prstGeom prst="rect">
            <a:avLst/>
          </a:prstGeom>
        </p:spPr>
      </p:pic>
    </p:spTree>
    <p:extLst>
      <p:ext uri="{BB962C8B-B14F-4D97-AF65-F5344CB8AC3E}">
        <p14:creationId xmlns:p14="http://schemas.microsoft.com/office/powerpoint/2010/main" val="2919549040"/>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0"/>
            <a:ext cx="8382000" cy="311613"/>
          </a:xfrm>
          <a:prstGeom prst="rect">
            <a:avLst/>
          </a:prstGeom>
          <a:noFill/>
          <a:ln w="12700">
            <a:noFill/>
            <a:miter lim="800000"/>
            <a:headEnd type="none" w="sm" len="sm"/>
            <a:tailEnd type="none" w="sm" len="sm"/>
          </a:ln>
          <a:effectLst/>
        </p:spPr>
        <p:txBody>
          <a:bodyPr vert="horz" wrap="square" lIns="68578" tIns="34289" rIns="68578" bIns="34289" numCol="1" anchor="t" anchorCtr="0" compatLnSpc="1">
            <a:prstTxWarp prst="textNoShape">
              <a:avLst/>
            </a:prstTxWarp>
            <a:spAutoFit/>
          </a:bodyPr>
          <a:lstStyle/>
          <a:p>
            <a:pPr algn="ctr" defTabSz="685666"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666"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889635803"/>
      </p:ext>
    </p:extLst>
  </p:cSld>
  <p:clrMapOvr>
    <a:masterClrMapping/>
  </p:clrMapOvr>
  <p:transition>
    <p:fade/>
  </p:transition>
  <p:timing>
    <p:tnLst>
      <p:par>
        <p:cTn id="1" dur="indefinite" restart="never" nodeType="tmRoot"/>
      </p:par>
    </p:tnLst>
  </p:timing>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3"/>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0"/>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864"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88"/>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0"/>
            <a:ext cx="1873858" cy="217754"/>
          </a:xfrm>
          <a:prstGeom prst="rect">
            <a:avLst/>
          </a:prstGeom>
        </p:spPr>
      </p:pic>
    </p:spTree>
    <p:extLst>
      <p:ext uri="{BB962C8B-B14F-4D97-AF65-F5344CB8AC3E}">
        <p14:creationId xmlns:p14="http://schemas.microsoft.com/office/powerpoint/2010/main" val="4032620451"/>
      </p:ext>
    </p:extLst>
  </p:cSld>
  <p:clrMapOvr>
    <a:masterClrMapping/>
  </p:clrMapOvr>
  <p:transition>
    <p:fade/>
  </p:transition>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405644247"/>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endParaRPr lang="en-US" sz="1200"/>
          </a:p>
        </p:txBody>
      </p:sp>
    </p:spTree>
    <p:extLst>
      <p:ext uri="{BB962C8B-B14F-4D97-AF65-F5344CB8AC3E}">
        <p14:creationId xmlns:p14="http://schemas.microsoft.com/office/powerpoint/2010/main" val="2393864327"/>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327" indent="-345327">
              <a:buClr>
                <a:srgbClr val="FFFFFF"/>
              </a:buClr>
              <a:buSzPct val="70000"/>
              <a:buFontTx/>
              <a:buBlip>
                <a:blip r:embed="rId2"/>
              </a:buBlip>
              <a:defRPr>
                <a:gradFill>
                  <a:gsLst>
                    <a:gs pos="0">
                      <a:srgbClr val="FFFFFF"/>
                    </a:gs>
                    <a:gs pos="86000">
                      <a:srgbClr val="FFFFFF"/>
                    </a:gs>
                  </a:gsLst>
                  <a:lin ang="5400000" scaled="0"/>
                </a:gradFill>
              </a:defRPr>
            </a:lvl1pPr>
            <a:lvl2pPr marL="641833" indent="-296506">
              <a:buClr>
                <a:srgbClr val="FFFFFF"/>
              </a:buClr>
              <a:buSzPct val="70000"/>
              <a:buFontTx/>
              <a:buBlip>
                <a:blip r:embed="rId2"/>
              </a:buBlip>
              <a:defRPr>
                <a:gradFill>
                  <a:gsLst>
                    <a:gs pos="0">
                      <a:srgbClr val="FFFFFF"/>
                    </a:gs>
                    <a:gs pos="86000">
                      <a:srgbClr val="FFFFFF"/>
                    </a:gs>
                  </a:gsLst>
                  <a:lin ang="5400000" scaled="0"/>
                </a:gradFill>
              </a:defRPr>
            </a:lvl2pPr>
            <a:lvl3pPr marL="944292" indent="-302459">
              <a:buClr>
                <a:srgbClr val="FFFFFF"/>
              </a:buClr>
              <a:buSzPct val="70000"/>
              <a:buFontTx/>
              <a:buBlip>
                <a:blip r:embed="rId2"/>
              </a:buBlip>
              <a:defRPr>
                <a:gradFill>
                  <a:gsLst>
                    <a:gs pos="0">
                      <a:srgbClr val="FFFFFF"/>
                    </a:gs>
                    <a:gs pos="86000">
                      <a:srgbClr val="FFFFFF"/>
                    </a:gs>
                  </a:gsLst>
                  <a:lin ang="5400000" scaled="0"/>
                </a:gradFill>
              </a:defRPr>
            </a:lvl3pPr>
            <a:lvl4pPr marL="1203883" indent="-259591">
              <a:buClr>
                <a:srgbClr val="FFFFFF"/>
              </a:buClr>
              <a:buSzPct val="70000"/>
              <a:buFontTx/>
              <a:buBlip>
                <a:blip r:embed="rId2"/>
              </a:buBlip>
              <a:defRPr>
                <a:gradFill>
                  <a:gsLst>
                    <a:gs pos="0">
                      <a:srgbClr val="FFFFFF"/>
                    </a:gs>
                    <a:gs pos="86000">
                      <a:srgbClr val="FFFFFF"/>
                    </a:gs>
                  </a:gsLst>
                  <a:lin ang="5400000" scaled="0"/>
                </a:gradFill>
              </a:defRPr>
            </a:lvl4pPr>
            <a:lvl5pPr marL="1456329" indent="-252446">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311" tIns="57155" rIns="114311" bIns="57155"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185446948"/>
      </p:ext>
    </p:extLst>
  </p:cSld>
  <p:clrMapOvr>
    <a:masterClrMapping/>
  </p:clrMapOvr>
  <p:transition>
    <p:fade/>
  </p:transition>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2" y="2002073"/>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0" y="3240012"/>
            <a:ext cx="5289917" cy="549413"/>
          </a:xfrm>
        </p:spPr>
        <p:txBody>
          <a:bodyPr>
            <a:normAutofit/>
          </a:bodyPr>
          <a:lstStyle>
            <a:lvl1pPr marL="0" indent="0" algn="l">
              <a:buNone/>
              <a:defRPr sz="2000" b="0" i="0">
                <a:solidFill>
                  <a:srgbClr val="FFFFFF"/>
                </a:solidFill>
                <a:latin typeface="Segoe"/>
                <a:cs typeface="Segoe"/>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75789505"/>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68"/>
            <a:ext cx="3959352" cy="1705768"/>
          </a:xfrm>
        </p:spPr>
        <p:txBody>
          <a:bodyPr/>
          <a:lstStyle>
            <a:lvl1pPr marL="339962" indent="-339962">
              <a:lnSpc>
                <a:spcPct val="90000"/>
              </a:lnSpc>
              <a:defRPr sz="2800">
                <a:solidFill>
                  <a:schemeClr val="tx1">
                    <a:lumMod val="65000"/>
                    <a:lumOff val="35000"/>
                  </a:schemeClr>
                </a:solidFill>
              </a:defRPr>
            </a:lvl1pPr>
            <a:lvl2pPr marL="673310" indent="-325411">
              <a:lnSpc>
                <a:spcPct val="90000"/>
              </a:lnSpc>
              <a:defRPr sz="2400">
                <a:solidFill>
                  <a:schemeClr val="tx1">
                    <a:lumMod val="65000"/>
                    <a:lumOff val="35000"/>
                  </a:schemeClr>
                </a:solidFill>
              </a:defRPr>
            </a:lvl2pPr>
            <a:lvl3pPr marL="953745" indent="-288372">
              <a:lnSpc>
                <a:spcPct val="90000"/>
              </a:lnSpc>
              <a:defRPr sz="2000">
                <a:solidFill>
                  <a:schemeClr val="tx1">
                    <a:lumMod val="65000"/>
                    <a:lumOff val="35000"/>
                  </a:schemeClr>
                </a:solidFill>
              </a:defRPr>
            </a:lvl3pPr>
            <a:lvl4pPr marL="1227567" indent="-273822">
              <a:lnSpc>
                <a:spcPct val="90000"/>
              </a:lnSpc>
              <a:defRPr sz="1800">
                <a:solidFill>
                  <a:schemeClr val="tx1">
                    <a:lumMod val="65000"/>
                    <a:lumOff val="35000"/>
                  </a:schemeClr>
                </a:solidFill>
              </a:defRPr>
            </a:lvl4pPr>
            <a:lvl5pPr marL="1515939" indent="-28043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0" y="1115568"/>
            <a:ext cx="3962401" cy="1705768"/>
          </a:xfrm>
        </p:spPr>
        <p:txBody>
          <a:bodyPr/>
          <a:lstStyle>
            <a:lvl1pPr marL="347899" indent="-347899">
              <a:lnSpc>
                <a:spcPct val="90000"/>
              </a:lnSpc>
              <a:defRPr sz="2800">
                <a:solidFill>
                  <a:schemeClr val="tx1">
                    <a:lumMod val="65000"/>
                    <a:lumOff val="35000"/>
                  </a:schemeClr>
                </a:solidFill>
              </a:defRPr>
            </a:lvl1pPr>
            <a:lvl2pPr marL="673310" indent="-339962">
              <a:lnSpc>
                <a:spcPct val="90000"/>
              </a:lnSpc>
              <a:defRPr sz="2400">
                <a:solidFill>
                  <a:schemeClr val="tx1">
                    <a:lumMod val="65000"/>
                    <a:lumOff val="35000"/>
                  </a:schemeClr>
                </a:solidFill>
              </a:defRPr>
            </a:lvl2pPr>
            <a:lvl3pPr marL="961682" indent="-302923">
              <a:lnSpc>
                <a:spcPct val="90000"/>
              </a:lnSpc>
              <a:defRPr sz="2000">
                <a:solidFill>
                  <a:schemeClr val="tx1">
                    <a:lumMod val="65000"/>
                    <a:lumOff val="35000"/>
                  </a:schemeClr>
                </a:solidFill>
              </a:defRPr>
            </a:lvl3pPr>
            <a:lvl4pPr marL="1227567" indent="-265885">
              <a:lnSpc>
                <a:spcPct val="90000"/>
              </a:lnSpc>
              <a:defRPr sz="1800">
                <a:solidFill>
                  <a:schemeClr val="tx1">
                    <a:lumMod val="65000"/>
                    <a:lumOff val="35000"/>
                  </a:schemeClr>
                </a:solidFill>
              </a:defRPr>
            </a:lvl4pPr>
            <a:lvl5pPr marL="1515939" indent="-273822">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3"/>
            <a:ext cx="2133600" cy="273844"/>
          </a:xfrm>
          <a:prstGeom prst="rect">
            <a:avLst/>
          </a:prstGeom>
        </p:spPr>
        <p:txBody>
          <a:bodyPr/>
          <a:lstStyle>
            <a:lvl1pPr algn="ctr">
              <a:defRPr b="0" i="0">
                <a:solidFill>
                  <a:schemeClr val="tx1">
                    <a:lumMod val="95000"/>
                    <a:lumOff val="5000"/>
                  </a:schemeClr>
                </a:solidFill>
                <a:latin typeface="Segoe"/>
                <a:cs typeface="Segoe"/>
              </a:defRPr>
            </a:lvl1pPr>
          </a:lstStyle>
          <a:p>
            <a:pPr defTabSz="914400"/>
            <a:fld id="{1C24C1D7-E85D-3D41-874A-BD44A6CAB932}" type="slidenum">
              <a:rPr lang="en-US" smtClean="0">
                <a:solidFill>
                  <a:srgbClr val="292929">
                    <a:lumMod val="95000"/>
                    <a:lumOff val="5000"/>
                  </a:srgbClr>
                </a:solidFill>
              </a:rPr>
              <a:pPr defTabSz="914400"/>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1" y="4954848"/>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3" y="4555398"/>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09" y="4583972"/>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499" y="4674879"/>
            <a:ext cx="1386137" cy="371475"/>
          </a:xfrm>
          <a:prstGeom prst="rect">
            <a:avLst/>
          </a:prstGeom>
        </p:spPr>
      </p:pic>
    </p:spTree>
    <p:extLst>
      <p:ext uri="{BB962C8B-B14F-4D97-AF65-F5344CB8AC3E}">
        <p14:creationId xmlns:p14="http://schemas.microsoft.com/office/powerpoint/2010/main" val="4212105159"/>
      </p:ext>
    </p:extLst>
  </p:cSld>
  <p:clrMapOvr>
    <a:masterClrMapping/>
  </p:clrMapOvr>
  <p:timing>
    <p:tnLst>
      <p:par>
        <p:cTn id="1" dur="indefinite" restart="never" nodeType="tmRoot"/>
      </p:par>
    </p:tnLst>
  </p:timing>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a:lstStyle>
            <a:lvl1pPr algn="l">
              <a:defRPr b="0" i="0">
                <a:solidFill>
                  <a:srgbClr val="FFFFFF"/>
                </a:solidFill>
                <a:latin typeface="Segoe"/>
                <a:cs typeface="Segoe"/>
              </a:defRPr>
            </a:lvl1pPr>
          </a:lstStyle>
          <a:p>
            <a:pPr defTabSz="914400"/>
            <a:fld id="{B6F15528-21DE-4FAA-801E-634DDDAF4B2B}" type="slidenum">
              <a:rPr lang="en-US" smtClean="0"/>
              <a:pPr defTabSz="914400"/>
              <a:t>‹#›</a:t>
            </a:fld>
            <a:endParaRPr lang="en-US"/>
          </a:p>
        </p:txBody>
      </p:sp>
    </p:spTree>
    <p:extLst>
      <p:ext uri="{BB962C8B-B14F-4D97-AF65-F5344CB8AC3E}">
        <p14:creationId xmlns:p14="http://schemas.microsoft.com/office/powerpoint/2010/main" val="3324272573"/>
      </p:ext>
    </p:extLst>
  </p:cSld>
  <p:clrMapOvr>
    <a:masterClrMapping/>
  </p:clrMapOvr>
  <p:timing>
    <p:tnLst>
      <p:par>
        <p:cTn id="1" dur="indefinite" restart="never" nodeType="tmRoot"/>
      </p:par>
    </p:tnLst>
  </p:timing>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0344549"/>
      </p:ext>
    </p:extLst>
  </p:cSld>
  <p:clrMapOvr>
    <a:masterClrMapping/>
  </p:clrMapOvr>
  <p:transition>
    <p:fade/>
  </p:transition>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Walkin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405048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Walkin Slide - Tokyo, Japa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97040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Walkin Slide - Sydney, Austral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617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Walkin Slide - Toronto, Canad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93948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Walkin Slide - London, United Kingdom">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02115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680458582"/>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Walkin Slide - Buenos Aires, Argentin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33873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Walkin Slide - Auckland, New Zeala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957469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alkin Slide - Chennai, India">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42598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Walkin Slide - Sao Paulo, Brazil">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513784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alkin Slide - Paris, Franc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520637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Walkin Slide - Frankfurt, Germany">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577775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1008" y="2589029"/>
            <a:ext cx="4865192" cy="1501902"/>
          </a:xfrm>
        </p:spPr>
        <p:txBody>
          <a:bodyPr vert="horz" wrap="square" lIns="0" tIns="0" rIns="0" bIns="0" rtlCol="0" anchor="ctr" anchorCtr="0">
            <a:noAutofit/>
          </a:bodyPr>
          <a:lstStyle>
            <a:lvl1pPr algn="l" defTabSz="685807" rtl="0" eaLnBrk="1" latinLnBrk="0" hangingPunct="1">
              <a:lnSpc>
                <a:spcPct val="90000"/>
              </a:lnSpc>
              <a:spcBef>
                <a:spcPct val="0"/>
              </a:spcBef>
              <a:buNone/>
              <a:defRPr lang="en-US" sz="4500" b="0" kern="1200" cap="none" spc="-75" baseline="0" dirty="0">
                <a:ln w="3175">
                  <a:noFill/>
                </a:ln>
                <a:solidFill>
                  <a:schemeClr val="tx1">
                    <a:alpha val="99000"/>
                  </a:schemeClr>
                </a:solidFill>
                <a:effectLst/>
                <a:latin typeface="Segoe UI Light" pitchFamily="34" charset="0"/>
                <a:ea typeface="+mn-ea"/>
                <a:cs typeface="Arial" charset="0"/>
              </a:defRPr>
            </a:lvl1pPr>
          </a:lstStyle>
          <a:p>
            <a:pPr lvl="0"/>
            <a:r>
              <a:rPr lang="en-US" dirty="0" smtClean="0"/>
              <a:t>Title Here</a:t>
            </a:r>
            <a:endParaRPr lang="en-US" dirty="0"/>
          </a:p>
        </p:txBody>
      </p:sp>
      <p:sp>
        <p:nvSpPr>
          <p:cNvPr id="5" name="Text Placeholder 4"/>
          <p:cNvSpPr>
            <a:spLocks noGrp="1"/>
          </p:cNvSpPr>
          <p:nvPr>
            <p:ph type="body" sz="quarter" idx="12" hasCustomPrompt="1"/>
          </p:nvPr>
        </p:nvSpPr>
        <p:spPr>
          <a:xfrm>
            <a:off x="391010" y="4111506"/>
            <a:ext cx="4863589" cy="679802"/>
          </a:xfrm>
        </p:spPr>
        <p:txBody>
          <a:bodyPr vert="horz" wrap="square" lIns="0" tIns="0" rIns="0" bIns="0" rtlCol="0">
            <a:spAutoFit/>
          </a:bodyPr>
          <a:lstStyle>
            <a:lvl1pPr marL="0" indent="0">
              <a:buNone/>
              <a:defRPr lang="en-US" sz="1400" kern="1200" dirty="0">
                <a:solidFill>
                  <a:schemeClr val="tx1">
                    <a:alpha val="99000"/>
                  </a:schemeClr>
                </a:solidFill>
                <a:latin typeface="+mn-lt"/>
                <a:ea typeface="+mn-ea"/>
                <a:cs typeface="+mn-cs"/>
              </a:defRPr>
            </a:lvl1pPr>
          </a:lstStyle>
          <a:p>
            <a:pPr lvl="0"/>
            <a:r>
              <a:rPr lang="en-US" dirty="0" smtClean="0"/>
              <a:t>Name</a:t>
            </a:r>
          </a:p>
          <a:p>
            <a:pPr lvl="0"/>
            <a:r>
              <a:rPr lang="en-US" dirty="0" smtClean="0"/>
              <a:t>Title</a:t>
            </a:r>
          </a:p>
          <a:p>
            <a:pPr lvl="0"/>
            <a:r>
              <a:rPr lang="en-US" dirty="0" smtClean="0"/>
              <a:t>Microsoft Corporation</a:t>
            </a:r>
          </a:p>
        </p:txBody>
      </p:sp>
    </p:spTree>
    <p:extLst>
      <p:ext uri="{BB962C8B-B14F-4D97-AF65-F5344CB8AC3E}">
        <p14:creationId xmlns:p14="http://schemas.microsoft.com/office/powerpoint/2010/main" val="34349908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Section Title">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89435" y="1412615"/>
            <a:ext cx="5144840" cy="1384995"/>
          </a:xfrm>
        </p:spPr>
        <p:txBody>
          <a:bodyPr anchor="b" anchorCtr="0"/>
          <a:lstStyle>
            <a:lvl1pPr>
              <a:defRPr kumimoji="0" lang="en-US" sz="5000" b="0" i="0" u="none" strike="noStrike" kern="1200" cap="none" spc="-90" normalizeH="0" baseline="0" dirty="0">
                <a:ln w="3175">
                  <a:noFill/>
                </a:ln>
                <a:solidFill>
                  <a:schemeClr val="tx1">
                    <a:alpha val="99000"/>
                  </a:schemeClr>
                </a:solidFill>
                <a:effectLst/>
                <a:uLnTx/>
                <a:uFillTx/>
                <a:latin typeface="Segoe UI Light"/>
                <a:ea typeface="+mn-ea"/>
                <a:cs typeface="Arial" charset="0"/>
              </a:defRPr>
            </a:lvl1pPr>
          </a:lstStyle>
          <a:p>
            <a:pPr marL="0" lvl="0" indent="0" algn="l" defTabSz="685807" rtl="0" eaLnBrk="1" latinLnBrk="0" hangingPunct="1">
              <a:lnSpc>
                <a:spcPct val="90000"/>
              </a:lnSpc>
              <a:spcBef>
                <a:spcPct val="20000"/>
              </a:spcBef>
              <a:buSzPct val="80000"/>
              <a:buFont typeface="Arial" pitchFamily="34" charset="0"/>
              <a:buNone/>
            </a:pPr>
            <a:r>
              <a:rPr lang="en-US" dirty="0" smtClean="0"/>
              <a:t>Click to edit title style</a:t>
            </a:r>
            <a:endParaRPr lang="en-US" dirty="0"/>
          </a:p>
        </p:txBody>
      </p:sp>
    </p:spTree>
    <p:extLst>
      <p:ext uri="{BB962C8B-B14F-4D97-AF65-F5344CB8AC3E}">
        <p14:creationId xmlns:p14="http://schemas.microsoft.com/office/powerpoint/2010/main" val="438635402"/>
      </p:ext>
    </p:extLst>
  </p:cSld>
  <p:clrMapOvr>
    <a:masterClrMapping/>
  </p:clrMapOvr>
  <p:transition>
    <p:fade/>
  </p:transition>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ubtitle 2"/>
          <p:cNvSpPr>
            <a:spLocks noGrp="1"/>
          </p:cNvSpPr>
          <p:nvPr>
            <p:ph type="subTitle" idx="1"/>
          </p:nvPr>
        </p:nvSpPr>
        <p:spPr>
          <a:xfrm>
            <a:off x="730044" y="3257552"/>
            <a:ext cx="7680340" cy="346249"/>
          </a:xfrm>
        </p:spPr>
        <p:txBody>
          <a:bodyPr>
            <a:noAutofit/>
          </a:bodyPr>
          <a:lstStyle>
            <a:lvl1pPr marL="0" indent="0" algn="l">
              <a:lnSpc>
                <a:spcPct val="90000"/>
              </a:lnSpc>
              <a:spcBef>
                <a:spcPts val="0"/>
              </a:spcBef>
              <a:buNone/>
              <a:defRPr lang="en-US" sz="2700" kern="1200" spc="-53" baseline="0" dirty="0">
                <a:solidFill>
                  <a:schemeClr val="tx1">
                    <a:alpha val="99000"/>
                  </a:schemeClr>
                </a:solidFill>
                <a:latin typeface="+mj-lt"/>
                <a:ea typeface="+mn-ea"/>
                <a:cs typeface="+mn-cs"/>
              </a:defRPr>
            </a:lvl1pPr>
            <a:lvl2pPr marL="342904" indent="0" algn="ctr">
              <a:buNone/>
              <a:defRPr>
                <a:solidFill>
                  <a:schemeClr val="tx1">
                    <a:tint val="75000"/>
                  </a:schemeClr>
                </a:solidFill>
              </a:defRPr>
            </a:lvl2pPr>
            <a:lvl3pPr marL="685807" indent="0" algn="ctr">
              <a:buNone/>
              <a:defRPr>
                <a:solidFill>
                  <a:schemeClr val="tx1">
                    <a:tint val="75000"/>
                  </a:schemeClr>
                </a:solidFill>
              </a:defRPr>
            </a:lvl3pPr>
            <a:lvl4pPr marL="1028710" indent="0" algn="ctr">
              <a:buNone/>
              <a:defRPr>
                <a:solidFill>
                  <a:schemeClr val="tx1">
                    <a:tint val="75000"/>
                  </a:schemeClr>
                </a:solidFill>
              </a:defRPr>
            </a:lvl4pPr>
            <a:lvl5pPr marL="1371614" indent="0" algn="ctr">
              <a:buNone/>
              <a:defRPr>
                <a:solidFill>
                  <a:schemeClr val="tx1">
                    <a:tint val="75000"/>
                  </a:schemeClr>
                </a:solidFill>
              </a:defRPr>
            </a:lvl5pPr>
            <a:lvl6pPr marL="1714516" indent="0" algn="ctr">
              <a:buNone/>
              <a:defRPr>
                <a:solidFill>
                  <a:schemeClr val="tx1">
                    <a:tint val="75000"/>
                  </a:schemeClr>
                </a:solidFill>
              </a:defRPr>
            </a:lvl6pPr>
            <a:lvl7pPr marL="2057420" indent="0" algn="ctr">
              <a:buNone/>
              <a:defRPr>
                <a:solidFill>
                  <a:schemeClr val="tx1">
                    <a:tint val="75000"/>
                  </a:schemeClr>
                </a:solidFill>
              </a:defRPr>
            </a:lvl7pPr>
            <a:lvl8pPr marL="2400324" indent="0" algn="ctr">
              <a:buNone/>
              <a:defRPr>
                <a:solidFill>
                  <a:schemeClr val="tx1">
                    <a:tint val="75000"/>
                  </a:schemeClr>
                </a:solidFill>
              </a:defRPr>
            </a:lvl8pPr>
            <a:lvl9pPr marL="2743227" indent="0" algn="ctr">
              <a:buNone/>
              <a:defRPr>
                <a:solidFill>
                  <a:schemeClr val="tx1">
                    <a:tint val="75000"/>
                  </a:schemeClr>
                </a:solidFill>
              </a:defRPr>
            </a:lvl9pPr>
          </a:lstStyle>
          <a:p>
            <a:pPr marL="0" marR="0" lvl="0" indent="0" algn="l" defTabSz="685807" rtl="0" eaLnBrk="1" fontAlgn="auto" latinLnBrk="0" hangingPunct="1">
              <a:lnSpc>
                <a:spcPct val="90000"/>
              </a:lnSpc>
              <a:spcBef>
                <a:spcPts val="0"/>
              </a:spcBef>
              <a:spcAft>
                <a:spcPts val="0"/>
              </a:spcAft>
              <a:buClrTx/>
              <a:buSzPct val="90000"/>
              <a:buFont typeface="Arial" pitchFamily="34" charset="0"/>
              <a:buNone/>
              <a:tabLst/>
            </a:pPr>
            <a:r>
              <a:rPr lang="en-US" smtClean="0"/>
              <a:t>Click to edit Master subtitle style</a:t>
            </a:r>
            <a:endParaRPr lang="en-US" dirty="0"/>
          </a:p>
        </p:txBody>
      </p:sp>
      <p:sp>
        <p:nvSpPr>
          <p:cNvPr id="7" name="Text Placeholder 6"/>
          <p:cNvSpPr>
            <a:spLocks noGrp="1"/>
          </p:cNvSpPr>
          <p:nvPr>
            <p:ph type="body" sz="quarter" idx="10" hasCustomPrompt="1"/>
          </p:nvPr>
        </p:nvSpPr>
        <p:spPr>
          <a:xfrm>
            <a:off x="730044" y="2054759"/>
            <a:ext cx="7686295" cy="1033983"/>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7200" b="0" kern="1200" cap="none" spc="-300" baseline="0" dirty="0" smtClean="0">
                <a:ln w="3175">
                  <a:noFill/>
                </a:ln>
                <a:solidFill>
                  <a:schemeClr val="tx2">
                    <a:alpha val="99000"/>
                  </a:schemeClr>
                </a:solidFill>
                <a:effectLst/>
                <a:latin typeface="+mj-lt"/>
                <a:ea typeface="+mn-ea"/>
                <a:cs typeface="Arial" charset="0"/>
              </a:defRPr>
            </a:lvl1pPr>
          </a:lstStyle>
          <a:p>
            <a:pPr lvl="0"/>
            <a:r>
              <a:rPr lang="en-US" dirty="0" smtClean="0"/>
              <a:t>click to…</a:t>
            </a:r>
          </a:p>
        </p:txBody>
      </p:sp>
      <p:sp>
        <p:nvSpPr>
          <p:cNvPr id="5" name="Text Placeholder 4"/>
          <p:cNvSpPr>
            <a:spLocks noGrp="1"/>
          </p:cNvSpPr>
          <p:nvPr>
            <p:ph type="body" sz="quarter" idx="11"/>
          </p:nvPr>
        </p:nvSpPr>
        <p:spPr>
          <a:xfrm>
            <a:off x="730044" y="1085850"/>
            <a:ext cx="7680340" cy="685572"/>
          </a:xfrm>
        </p:spPr>
        <p:txBody>
          <a:bodyPr wrap="square" anchor="b">
            <a:noAutofit/>
          </a:bodyPr>
          <a:lstStyle>
            <a:lvl1pPr marL="0" indent="0">
              <a:buNone/>
              <a:defRPr sz="5000" spc="-113">
                <a:solidFill>
                  <a:schemeClr val="tx1">
                    <a:alpha val="99000"/>
                  </a:schemeClr>
                </a:solidFill>
              </a:defRPr>
            </a:lvl1pPr>
          </a:lstStyle>
          <a:p>
            <a:pPr lvl="0"/>
            <a:r>
              <a:rPr lang="en-US" dirty="0" smtClean="0"/>
              <a:t>Click to edit Master text styles</a:t>
            </a:r>
          </a:p>
        </p:txBody>
      </p:sp>
    </p:spTree>
    <p:extLst>
      <p:ext uri="{BB962C8B-B14F-4D97-AF65-F5344CB8AC3E}">
        <p14:creationId xmlns:p14="http://schemas.microsoft.com/office/powerpoint/2010/main" val="309576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Agenda">
    <p:bg bwMode="gray">
      <p:bgRef idx="1001">
        <a:schemeClr val="bg1"/>
      </p:bgRef>
    </p:bg>
    <p:spTree>
      <p:nvGrpSpPr>
        <p:cNvPr id="1" name=""/>
        <p:cNvGrpSpPr/>
        <p:nvPr/>
      </p:nvGrpSpPr>
      <p:grpSpPr>
        <a:xfrm>
          <a:off x="0" y="0"/>
          <a:ext cx="0" cy="0"/>
          <a:chOff x="0" y="0"/>
          <a:chExt cx="0" cy="0"/>
        </a:xfrm>
      </p:grpSpPr>
      <p:sp>
        <p:nvSpPr>
          <p:cNvPr id="15" name="Rectangle 14"/>
          <p:cNvSpPr/>
          <p:nvPr userDrawn="1"/>
        </p:nvSpPr>
        <p:spPr bwMode="gray">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6" tIns="34279" rIns="68556" bIns="34279" numCol="1" spcCol="0" rtlCol="0" anchor="ctr" anchorCtr="0" compatLnSpc="1">
            <a:prstTxWarp prst="textNoShape">
              <a:avLst/>
            </a:prstTxWarp>
          </a:bodyPr>
          <a:lstStyle/>
          <a:p>
            <a:pPr algn="ctr" defTabSz="68537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6" name="Group 15"/>
          <p:cNvGrpSpPr/>
          <p:nvPr userDrawn="1"/>
        </p:nvGrpSpPr>
        <p:grpSpPr bwMode="black">
          <a:xfrm>
            <a:off x="654636" y="2253760"/>
            <a:ext cx="1800782" cy="1601660"/>
            <a:chOff x="4470400" y="2038516"/>
            <a:chExt cx="3238500" cy="2881148"/>
          </a:xfrm>
          <a:solidFill>
            <a:schemeClr val="accent2"/>
          </a:solidFill>
        </p:grpSpPr>
        <p:sp>
          <p:nvSpPr>
            <p:cNvPr id="17" name="Freeform 6"/>
            <p:cNvSpPr>
              <a:spLocks/>
            </p:cNvSpPr>
            <p:nvPr userDrawn="1"/>
          </p:nvSpPr>
          <p:spPr bwMode="black">
            <a:xfrm>
              <a:off x="4470400" y="2314576"/>
              <a:ext cx="1319213" cy="2605088"/>
            </a:xfrm>
            <a:custGeom>
              <a:avLst/>
              <a:gdLst>
                <a:gd name="T0" fmla="*/ 501 w 1663"/>
                <a:gd name="T1" fmla="*/ 0 h 3282"/>
                <a:gd name="T2" fmla="*/ 1663 w 1663"/>
                <a:gd name="T3" fmla="*/ 0 h 3282"/>
                <a:gd name="T4" fmla="*/ 1663 w 1663"/>
                <a:gd name="T5" fmla="*/ 1694 h 3282"/>
                <a:gd name="T6" fmla="*/ 1385 w 1663"/>
                <a:gd name="T7" fmla="*/ 1694 h 3282"/>
                <a:gd name="T8" fmla="*/ 1396 w 1663"/>
                <a:gd name="T9" fmla="*/ 3282 h 3282"/>
                <a:gd name="T10" fmla="*/ 0 w 1663"/>
                <a:gd name="T11" fmla="*/ 3282 h 3282"/>
                <a:gd name="T12" fmla="*/ 0 w 1663"/>
                <a:gd name="T13" fmla="*/ 2067 h 3282"/>
                <a:gd name="T14" fmla="*/ 501 w 166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63" h="3282">
                  <a:moveTo>
                    <a:pt x="501" y="0"/>
                  </a:moveTo>
                  <a:lnTo>
                    <a:pt x="1663" y="0"/>
                  </a:lnTo>
                  <a:lnTo>
                    <a:pt x="1663" y="1694"/>
                  </a:lnTo>
                  <a:lnTo>
                    <a:pt x="1385" y="1694"/>
                  </a:lnTo>
                  <a:lnTo>
                    <a:pt x="1396" y="3282"/>
                  </a:lnTo>
                  <a:lnTo>
                    <a:pt x="0" y="3282"/>
                  </a:lnTo>
                  <a:lnTo>
                    <a:pt x="0" y="2067"/>
                  </a:lnTo>
                  <a:lnTo>
                    <a:pt x="50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18" name="Freeform 7"/>
            <p:cNvSpPr>
              <a:spLocks/>
            </p:cNvSpPr>
            <p:nvPr userDrawn="1"/>
          </p:nvSpPr>
          <p:spPr bwMode="black">
            <a:xfrm>
              <a:off x="6381750" y="2314576"/>
              <a:ext cx="1327150" cy="2605088"/>
            </a:xfrm>
            <a:custGeom>
              <a:avLst/>
              <a:gdLst>
                <a:gd name="T0" fmla="*/ 0 w 1673"/>
                <a:gd name="T1" fmla="*/ 0 h 3282"/>
                <a:gd name="T2" fmla="*/ 1169 w 1673"/>
                <a:gd name="T3" fmla="*/ 0 h 3282"/>
                <a:gd name="T4" fmla="*/ 1673 w 1673"/>
                <a:gd name="T5" fmla="*/ 2067 h 3282"/>
                <a:gd name="T6" fmla="*/ 1673 w 1673"/>
                <a:gd name="T7" fmla="*/ 3282 h 3282"/>
                <a:gd name="T8" fmla="*/ 268 w 1673"/>
                <a:gd name="T9" fmla="*/ 3282 h 3282"/>
                <a:gd name="T10" fmla="*/ 279 w 1673"/>
                <a:gd name="T11" fmla="*/ 1694 h 3282"/>
                <a:gd name="T12" fmla="*/ 0 w 1673"/>
                <a:gd name="T13" fmla="*/ 1694 h 3282"/>
                <a:gd name="T14" fmla="*/ 0 w 1673"/>
                <a:gd name="T15" fmla="*/ 0 h 32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3" h="3282">
                  <a:moveTo>
                    <a:pt x="0" y="0"/>
                  </a:moveTo>
                  <a:lnTo>
                    <a:pt x="1169" y="0"/>
                  </a:lnTo>
                  <a:lnTo>
                    <a:pt x="1673" y="2067"/>
                  </a:lnTo>
                  <a:lnTo>
                    <a:pt x="1673" y="3282"/>
                  </a:lnTo>
                  <a:lnTo>
                    <a:pt x="268" y="3282"/>
                  </a:lnTo>
                  <a:lnTo>
                    <a:pt x="279" y="1694"/>
                  </a:lnTo>
                  <a:lnTo>
                    <a:pt x="0" y="1694"/>
                  </a:lnTo>
                  <a:lnTo>
                    <a:pt x="0"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19" name="Rectangle 8"/>
            <p:cNvSpPr>
              <a:spLocks noChangeArrowheads="1"/>
            </p:cNvSpPr>
            <p:nvPr userDrawn="1"/>
          </p:nvSpPr>
          <p:spPr bwMode="black">
            <a:xfrm>
              <a:off x="5916613" y="2314578"/>
              <a:ext cx="338138" cy="1118394"/>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20" name="Rectangle 9"/>
            <p:cNvSpPr>
              <a:spLocks noChangeArrowheads="1"/>
            </p:cNvSpPr>
            <p:nvPr userDrawn="1"/>
          </p:nvSpPr>
          <p:spPr bwMode="black">
            <a:xfrm>
              <a:off x="5172076"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sp>
          <p:nvSpPr>
            <p:cNvPr id="21" name="Rectangle 10"/>
            <p:cNvSpPr>
              <a:spLocks noChangeArrowheads="1"/>
            </p:cNvSpPr>
            <p:nvPr userDrawn="1"/>
          </p:nvSpPr>
          <p:spPr bwMode="black">
            <a:xfrm>
              <a:off x="6381750" y="2038516"/>
              <a:ext cx="617538" cy="236538"/>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defTabSz="914134"/>
              <a:endParaRPr lang="en-US">
                <a:solidFill>
                  <a:srgbClr val="5F5F5F"/>
                </a:solidFill>
              </a:endParaRPr>
            </a:p>
          </p:txBody>
        </p:sp>
      </p:grpSp>
      <p:sp>
        <p:nvSpPr>
          <p:cNvPr id="3" name="Subtitle 2"/>
          <p:cNvSpPr>
            <a:spLocks noGrp="1"/>
          </p:cNvSpPr>
          <p:nvPr>
            <p:ph type="subTitle" idx="1" hasCustomPrompt="1"/>
          </p:nvPr>
        </p:nvSpPr>
        <p:spPr>
          <a:xfrm>
            <a:off x="2606719" y="2564892"/>
            <a:ext cx="5213438" cy="932688"/>
          </a:xfrm>
        </p:spPr>
        <p:txBody>
          <a:bodyPr vert="horz" wrap="square" lIns="137166" tIns="137166" rIns="0" bIns="0" rtlCol="0" anchor="ctr" anchorCtr="0">
            <a:spAutoFit/>
          </a:bodyPr>
          <a:lstStyle>
            <a:lvl1pPr marL="431028" indent="-428646">
              <a:buNone/>
              <a:defRPr lang="en-US" sz="3300" spc="-75" dirty="0" smtClean="0">
                <a:solidFill>
                  <a:schemeClr val="tx1">
                    <a:alpha val="99000"/>
                  </a:schemeClr>
                </a:solidFill>
                <a:latin typeface="Segoe UI Light" pitchFamily="34" charset="0"/>
              </a:defRPr>
            </a:lvl1pPr>
            <a:lvl2pPr marL="259569" indent="-257188">
              <a:buNone/>
              <a:defRPr lang="en-US" spc="-38" dirty="0" smtClean="0">
                <a:solidFill>
                  <a:schemeClr val="tx1">
                    <a:alpha val="99000"/>
                  </a:schemeClr>
                </a:solidFill>
              </a:defRPr>
            </a:lvl2pPr>
          </a:lstStyle>
          <a:p>
            <a:pPr marL="2382" lvl="0" indent="0">
              <a:spcBef>
                <a:spcPts val="0"/>
              </a:spcBef>
              <a:spcAft>
                <a:spcPts val="675"/>
              </a:spcAft>
              <a:buSzPct val="80000"/>
            </a:pPr>
            <a:r>
              <a:rPr lang="en-US" dirty="0" smtClean="0"/>
              <a:t>Click to edit Master text styles</a:t>
            </a:r>
          </a:p>
          <a:p>
            <a:pPr marL="2382" lvl="1" indent="0">
              <a:spcBef>
                <a:spcPts val="0"/>
              </a:spcBef>
              <a:spcAft>
                <a:spcPts val="675"/>
              </a:spcAft>
              <a:buSzPct val="80000"/>
            </a:pPr>
            <a:r>
              <a:rPr lang="en-US" dirty="0" smtClean="0"/>
              <a:t>Second level</a:t>
            </a:r>
          </a:p>
        </p:txBody>
      </p:sp>
      <p:sp>
        <p:nvSpPr>
          <p:cNvPr id="5" name="Text Placeholder 4"/>
          <p:cNvSpPr>
            <a:spLocks noGrp="1"/>
          </p:cNvSpPr>
          <p:nvPr>
            <p:ph type="body" sz="quarter" idx="11"/>
          </p:nvPr>
        </p:nvSpPr>
        <p:spPr>
          <a:xfrm>
            <a:off x="391008" y="171451"/>
            <a:ext cx="8362080" cy="567848"/>
          </a:xfrm>
        </p:spPr>
        <p:txBody>
          <a:bodyPr vert="horz" wrap="square" lIns="0" tIns="0" rIns="0" bIns="0" rtlCol="0" anchor="t">
            <a:spAutoFit/>
          </a:bodyPr>
          <a:lstStyle>
            <a:lvl1pPr marL="0" indent="0">
              <a:buNone/>
              <a:defRPr lang="en-US" sz="4100" b="0" cap="none" spc="-75" dirty="0" smtClean="0">
                <a:ln w="3175">
                  <a:noFill/>
                </a:ln>
                <a:solidFill>
                  <a:schemeClr val="tx1">
                    <a:alpha val="99000"/>
                  </a:schemeClr>
                </a:solidFill>
                <a:effectLst/>
                <a:latin typeface="Segoe UI Light" pitchFamily="34" charset="0"/>
                <a:cs typeface="Arial" charset="0"/>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0188644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3573048368"/>
      </p:ext>
    </p:extLst>
  </p:cSld>
  <p:clrMapOvr>
    <a:masterClrMapping/>
  </p:clrMapOvr>
  <p:transition>
    <p:fade/>
  </p:transition>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a:solidFill>
                  <a:schemeClr val="tx1">
                    <a:alpha val="99000"/>
                  </a:schemeClr>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buFont typeface="Wingdings" pitchFamily="2" charset="2"/>
              <a:buNone/>
              <a:defRPr sz="3000">
                <a:solidFill>
                  <a:schemeClr val="tx1">
                    <a:alpha val="99000"/>
                  </a:schemeClr>
                </a:solidFill>
              </a:defRPr>
            </a:lvl1pPr>
            <a:lvl2pPr marL="213132" marR="0" indent="0" algn="l" defTabSz="685807" rtl="0" eaLnBrk="1" fontAlgn="auto" latinLnBrk="0" hangingPunct="1">
              <a:lnSpc>
                <a:spcPct val="90000"/>
              </a:lnSpc>
              <a:spcBef>
                <a:spcPct val="20000"/>
              </a:spcBef>
              <a:spcAft>
                <a:spcPts val="0"/>
              </a:spcAft>
              <a:buClrTx/>
              <a:buSzPct val="90000"/>
              <a:buFont typeface="Wingdings" pitchFamily="2" charset="2"/>
              <a:buNone/>
              <a:tabLst/>
              <a:defRPr lang="en-US" sz="1800" kern="1200" spc="0" baseline="0" dirty="0" smtClean="0">
                <a:solidFill>
                  <a:schemeClr val="tx1">
                    <a:alpha val="99000"/>
                  </a:schemeClr>
                </a:solidFill>
                <a:latin typeface="+mn-lt"/>
                <a:ea typeface="+mn-ea"/>
                <a:cs typeface="+mn-cs"/>
              </a:defRPr>
            </a:lvl2pPr>
            <a:lvl3pPr marL="388164" indent="0">
              <a:buFont typeface="Wingdings" pitchFamily="2" charset="2"/>
              <a:buNone/>
              <a:tabLst/>
              <a:defRPr>
                <a:solidFill>
                  <a:schemeClr val="tx1">
                    <a:alpha val="99000"/>
                  </a:schemeClr>
                </a:solidFill>
                <a:latin typeface="+mn-lt"/>
              </a:defRPr>
            </a:lvl3pPr>
            <a:lvl4pPr marL="556050" indent="0">
              <a:buFont typeface="Wingdings" pitchFamily="2" charset="2"/>
              <a:buNone/>
              <a:defRPr>
                <a:solidFill>
                  <a:schemeClr val="tx1">
                    <a:alpha val="99000"/>
                  </a:schemeClr>
                </a:solidFill>
                <a:latin typeface="+mn-lt"/>
              </a:defRPr>
            </a:lvl4pPr>
            <a:lvl5pPr marL="685834" indent="0">
              <a:buFont typeface="Wingdings" pitchFamily="2" charset="2"/>
              <a:buNone/>
              <a:tabLst/>
              <a:defRPr>
                <a:solidFill>
                  <a:schemeClr val="tx1">
                    <a:alpha val="99000"/>
                  </a:schemeClr>
                </a:solidFill>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67466775"/>
      </p:ext>
    </p:extLst>
  </p:cSld>
  <p:clrMapOvr>
    <a:masterClrMapping/>
  </p:clrMapOvr>
  <p:transition>
    <p:fade/>
  </p:transition>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26507782"/>
      </p:ext>
    </p:extLst>
  </p:cSld>
  <p:clrMapOvr>
    <a:masterClrMapping/>
  </p:clrMapOvr>
  <p:transition>
    <p:fade/>
  </p:transition>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1">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34347331"/>
      </p:ext>
    </p:extLst>
  </p:cSld>
  <p:clrMapOvr>
    <a:masterClrMapping/>
  </p:clrMapOvr>
  <p:transition>
    <p:fade/>
  </p:transition>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90627" y="1085850"/>
            <a:ext cx="4047274" cy="1763560"/>
          </a:xfrm>
        </p:spPr>
        <p:txBody>
          <a:bodyPr>
            <a:spAutoFit/>
          </a:bodyPr>
          <a:lstStyle>
            <a:lvl1pPr marL="219086" indent="-219086">
              <a:spcBef>
                <a:spcPts val="900"/>
              </a:spcBef>
              <a:buClr>
                <a:schemeClr val="tx1"/>
              </a:buClr>
              <a:buFont typeface="Wingdings" pitchFamily="2" charset="2"/>
              <a:buChar char=""/>
              <a:defRPr/>
            </a:lvl1pPr>
            <a:lvl2pPr marL="390545" indent="-171459">
              <a:defRPr sz="1500"/>
            </a:lvl2pPr>
            <a:lvl3pPr marL="514377" indent="-123832">
              <a:tabLst/>
              <a:defRPr sz="1500"/>
            </a:lvl3pPr>
            <a:lvl4pPr marL="647732" indent="-133357">
              <a:defRPr/>
            </a:lvl4pPr>
            <a:lvl5pPr marL="771564" indent="-123832">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ext Placeholder 6"/>
          <p:cNvSpPr>
            <a:spLocks noGrp="1"/>
          </p:cNvSpPr>
          <p:nvPr>
            <p:ph type="body" sz="quarter" idx="11"/>
          </p:nvPr>
        </p:nvSpPr>
        <p:spPr>
          <a:xfrm>
            <a:off x="4709672" y="1085850"/>
            <a:ext cx="4047274" cy="1763560"/>
          </a:xfrm>
        </p:spPr>
        <p:txBody>
          <a:bodyPr>
            <a:spAutoFit/>
          </a:bodyPr>
          <a:lstStyle>
            <a:lvl1pPr marL="254807" indent="-254807">
              <a:spcBef>
                <a:spcPts val="900"/>
              </a:spcBef>
              <a:buFont typeface="Wingdings" pitchFamily="2" charset="2"/>
              <a:buChar char=""/>
              <a:defRPr lang="en-US" sz="2700" kern="1200" spc="-53" baseline="0" dirty="0" smtClean="0">
                <a:solidFill>
                  <a:schemeClr val="tx1">
                    <a:alpha val="99000"/>
                  </a:schemeClr>
                </a:solidFill>
                <a:latin typeface="+mj-lt"/>
                <a:ea typeface="+mn-ea"/>
                <a:cs typeface="+mn-cs"/>
              </a:defRPr>
            </a:lvl1pPr>
            <a:lvl2pPr marL="476274" indent="-257188">
              <a:defRPr lang="en-US" sz="1500" kern="1200" spc="0" baseline="0" dirty="0" smtClean="0">
                <a:solidFill>
                  <a:schemeClr val="tx1">
                    <a:alpha val="99000"/>
                  </a:schemeClr>
                </a:solidFill>
                <a:latin typeface="+mn-lt"/>
                <a:ea typeface="+mn-ea"/>
                <a:cs typeface="+mn-cs"/>
              </a:defRPr>
            </a:lvl2pPr>
            <a:lvl3pPr marL="647732" indent="-257188">
              <a:defRPr lang="en-US" sz="1500" kern="1200" spc="0" baseline="0" dirty="0" smtClean="0">
                <a:solidFill>
                  <a:schemeClr val="tx1">
                    <a:alpha val="99000"/>
                  </a:schemeClr>
                </a:solidFill>
                <a:latin typeface="+mn-lt"/>
                <a:ea typeface="+mn-ea"/>
                <a:cs typeface="+mn-cs"/>
              </a:defRPr>
            </a:lvl3pPr>
            <a:lvl4pPr marL="771564" indent="-257188">
              <a:defRPr lang="en-US" sz="1500" kern="1200" spc="0" baseline="0" dirty="0" smtClean="0">
                <a:solidFill>
                  <a:schemeClr val="tx1">
                    <a:alpha val="99000"/>
                  </a:schemeClr>
                </a:solidFill>
                <a:latin typeface="+mn-lt"/>
                <a:ea typeface="+mn-ea"/>
                <a:cs typeface="+mn-cs"/>
              </a:defRPr>
            </a:lvl4pPr>
            <a:lvl5pPr marL="904921" indent="-257188">
              <a:defRPr lang="en-US" sz="1500" kern="1200" spc="0" baseline="0" dirty="0">
                <a:solidFill>
                  <a:schemeClr val="tx1">
                    <a:alpha val="99000"/>
                  </a:schemeClr>
                </a:solidFill>
                <a:latin typeface="+mn-lt"/>
                <a:ea typeface="+mn-ea"/>
                <a:cs typeface="+mn-cs"/>
              </a:defRPr>
            </a:lvl5pPr>
          </a:lstStyle>
          <a:p>
            <a:pPr marL="219086" marR="0" lvl="0"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Click to edit Master text styles</a:t>
            </a:r>
          </a:p>
          <a:p>
            <a:pPr marL="219086" marR="0" lvl="1"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Second level</a:t>
            </a:r>
          </a:p>
          <a:p>
            <a:pPr marL="219086" marR="0" lvl="2"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Third level</a:t>
            </a:r>
          </a:p>
          <a:p>
            <a:pPr marL="219086" marR="0" lvl="3"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ourth level</a:t>
            </a:r>
          </a:p>
          <a:p>
            <a:pPr marL="219086" marR="0" lvl="4" indent="-219086" algn="l" defTabSz="685807" rtl="0" eaLnBrk="1" fontAlgn="auto" latinLnBrk="0" hangingPunct="1">
              <a:lnSpc>
                <a:spcPct val="90000"/>
              </a:lnSpc>
              <a:spcBef>
                <a:spcPct val="20000"/>
              </a:spcBef>
              <a:spcAft>
                <a:spcPts val="0"/>
              </a:spcAft>
              <a:buClr>
                <a:schemeClr val="tx1"/>
              </a:buClr>
              <a:buSzPct val="90000"/>
              <a:buFont typeface="Wingdings" pitchFamily="2" charset="2"/>
              <a:buChar char=""/>
              <a:tabLst/>
            </a:pPr>
            <a:r>
              <a:rPr lang="en-US" smtClean="0"/>
              <a:t>Fifth level</a:t>
            </a:r>
            <a:endParaRPr lang="en-US" dirty="0"/>
          </a:p>
        </p:txBody>
      </p:sp>
    </p:spTree>
    <p:extLst>
      <p:ext uri="{BB962C8B-B14F-4D97-AF65-F5344CB8AC3E}">
        <p14:creationId xmlns:p14="http://schemas.microsoft.com/office/powerpoint/2010/main" val="4230946489"/>
      </p:ext>
    </p:extLst>
  </p:cSld>
  <p:clrMapOvr>
    <a:masterClrMapping/>
  </p:clrMapOvr>
  <p:transition>
    <p:fade/>
  </p:transition>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sp>
        <p:nvSpPr>
          <p:cNvPr id="3" name="Content Placeholder 2"/>
          <p:cNvSpPr>
            <a:spLocks noGrp="1"/>
          </p:cNvSpPr>
          <p:nvPr>
            <p:ph sz="half" idx="1"/>
          </p:nvPr>
        </p:nvSpPr>
        <p:spPr>
          <a:xfrm>
            <a:off x="389436" y="1085852"/>
            <a:ext cx="4115872" cy="1500411"/>
          </a:xfrm>
        </p:spPr>
        <p:txBody>
          <a:bodyPr/>
          <a:lstStyle>
            <a:lvl1pPr marL="255997" indent="-255997">
              <a:lnSpc>
                <a:spcPct val="90000"/>
              </a:lnSpc>
              <a:buSzPct val="80000"/>
              <a:buFont typeface="Arial" pitchFamily="34" charset="0"/>
              <a:buChar char="•"/>
              <a:defRPr sz="2400"/>
            </a:lvl1pPr>
            <a:lvl2pPr marL="470320" indent="-214323">
              <a:lnSpc>
                <a:spcPct val="90000"/>
              </a:lnSpc>
              <a:buSzPct val="80000"/>
              <a:buFont typeface="Arial" pitchFamily="34" charset="0"/>
              <a:buChar char="•"/>
              <a:defRPr sz="2100"/>
            </a:lvl2pPr>
            <a:lvl3pPr marL="685834" indent="-215514">
              <a:lnSpc>
                <a:spcPct val="90000"/>
              </a:lnSpc>
              <a:buSzPct val="80000"/>
              <a:buFont typeface="Arial" pitchFamily="34" charset="0"/>
              <a:buChar char="•"/>
              <a:defRPr sz="1800"/>
            </a:lvl3pPr>
            <a:lvl4pPr marL="1284750" indent="-169077">
              <a:lnSpc>
                <a:spcPct val="90000"/>
              </a:lnSpc>
              <a:buSzPct val="80000"/>
              <a:buFont typeface="Arial" pitchFamily="34" charset="0"/>
              <a:buChar char="•"/>
              <a:defRPr sz="1500"/>
            </a:lvl4pPr>
            <a:lvl5pPr marL="1458588" indent="-17383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2"/>
            <a:ext cx="4115872" cy="1500411"/>
          </a:xfrm>
        </p:spPr>
        <p:txBody>
          <a:bodyPr/>
          <a:lstStyle>
            <a:lvl1pPr marL="342916" indent="-342916">
              <a:lnSpc>
                <a:spcPct val="90000"/>
              </a:lnSpc>
              <a:buSzPct val="80000"/>
              <a:buFont typeface="Arial" pitchFamily="34" charset="0"/>
              <a:buChar char="•"/>
              <a:defRPr lang="en-US" sz="2400" kern="1200" spc="-53" baseline="0" dirty="0" smtClean="0">
                <a:solidFill>
                  <a:schemeClr val="tx1">
                    <a:alpha val="99000"/>
                  </a:schemeClr>
                </a:solidFill>
                <a:latin typeface="+mj-lt"/>
                <a:ea typeface="+mn-ea"/>
                <a:cs typeface="+mn-cs"/>
              </a:defRPr>
            </a:lvl1pPr>
            <a:lvl2pPr marL="598915" indent="-342916">
              <a:lnSpc>
                <a:spcPct val="90000"/>
              </a:lnSpc>
              <a:buSzPct val="80000"/>
              <a:buFont typeface="Arial" pitchFamily="34" charset="0"/>
              <a:buChar char="•"/>
              <a:defRPr lang="en-US" sz="2100" kern="1200" spc="0" baseline="0" dirty="0" smtClean="0">
                <a:solidFill>
                  <a:schemeClr val="tx1">
                    <a:alpha val="99000"/>
                  </a:schemeClr>
                </a:solidFill>
                <a:latin typeface="+mn-lt"/>
                <a:ea typeface="+mn-ea"/>
                <a:cs typeface="+mn-cs"/>
              </a:defRPr>
            </a:lvl2pPr>
            <a:lvl3pPr marL="727508" indent="-257188">
              <a:lnSpc>
                <a:spcPct val="90000"/>
              </a:lnSpc>
              <a:buSzPct val="80000"/>
              <a:buFont typeface="Arial" pitchFamily="34" charset="0"/>
              <a:buChar char="•"/>
              <a:defRPr lang="en-US" sz="1800" kern="1200" spc="0" baseline="0" dirty="0" smtClean="0">
                <a:solidFill>
                  <a:schemeClr val="tx1">
                    <a:alpha val="99000"/>
                  </a:schemeClr>
                </a:solidFill>
                <a:latin typeface="+mn-lt"/>
                <a:ea typeface="+mn-ea"/>
                <a:cs typeface="+mn-cs"/>
              </a:defRPr>
            </a:lvl3pPr>
            <a:lvl4pPr marL="1372860" indent="-257188">
              <a:lnSpc>
                <a:spcPct val="90000"/>
              </a:lnSpc>
              <a:buSzPct val="80000"/>
              <a:buFont typeface="Arial" pitchFamily="34" charset="0"/>
              <a:buChar char="•"/>
              <a:defRPr lang="en-US" sz="1500" kern="1200" spc="0" baseline="0" dirty="0" smtClean="0">
                <a:solidFill>
                  <a:schemeClr val="tx1">
                    <a:alpha val="99000"/>
                  </a:schemeClr>
                </a:solidFill>
                <a:latin typeface="+mn-lt"/>
                <a:ea typeface="+mn-ea"/>
                <a:cs typeface="+mn-cs"/>
              </a:defRPr>
            </a:lvl4pPr>
            <a:lvl5pPr marL="1541937" indent="-257188">
              <a:lnSpc>
                <a:spcPct val="90000"/>
              </a:lnSpc>
              <a:buSzPct val="80000"/>
              <a:buFont typeface="Arial" pitchFamily="34" charset="0"/>
              <a:buChar char="•"/>
              <a:defRPr lang="en-US" sz="1500" kern="1200" spc="0" baseline="0" dirty="0">
                <a:solidFill>
                  <a:schemeClr val="tx1">
                    <a:alpha val="99000"/>
                  </a:schemeClr>
                </a:solidFill>
                <a:latin typeface="+mn-lt"/>
                <a:ea typeface="+mn-ea"/>
                <a:cs typeface="+mn-cs"/>
              </a:defRPr>
            </a:lvl5pPr>
            <a:lvl6pPr>
              <a:defRPr sz="1400"/>
            </a:lvl6pPr>
            <a:lvl7pPr>
              <a:defRPr sz="1400"/>
            </a:lvl7pPr>
            <a:lvl8pPr>
              <a:defRPr sz="1400"/>
            </a:lvl8pPr>
            <a:lvl9pPr>
              <a:defRPr sz="1400"/>
            </a:lvl9pPr>
          </a:lstStyle>
          <a:p>
            <a:pPr marL="255997" marR="0" lvl="0"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Click to edit Master text styles</a:t>
            </a:r>
          </a:p>
          <a:p>
            <a:pPr marL="255997" marR="0" lvl="1"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Second level</a:t>
            </a:r>
          </a:p>
          <a:p>
            <a:pPr marL="255997" marR="0" lvl="2"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Third level</a:t>
            </a:r>
          </a:p>
          <a:p>
            <a:pPr marL="255997" marR="0" lvl="3"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Fourth level</a:t>
            </a:r>
          </a:p>
          <a:p>
            <a:pPr marL="255997" marR="0" lvl="4" indent="-255997" algn="l" defTabSz="685807" rtl="0" eaLnBrk="1" fontAlgn="auto" latinLnBrk="0" hangingPunct="1">
              <a:lnSpc>
                <a:spcPct val="90000"/>
              </a:lnSpc>
              <a:spcBef>
                <a:spcPct val="20000"/>
              </a:spcBef>
              <a:spcAft>
                <a:spcPts val="0"/>
              </a:spcAft>
              <a:buClrTx/>
              <a:buSzPct val="80000"/>
              <a:buFont typeface="Arial" pitchFamily="34" charset="0"/>
              <a:buChar char="•"/>
              <a:tabLst/>
            </a:pPr>
            <a:r>
              <a:rPr lang="en-US" smtClean="0"/>
              <a:t>Fifth level</a:t>
            </a:r>
            <a:endParaRPr lang="en-US" dirty="0"/>
          </a:p>
        </p:txBody>
      </p:sp>
    </p:spTree>
    <p:extLst>
      <p:ext uri="{BB962C8B-B14F-4D97-AF65-F5344CB8AC3E}">
        <p14:creationId xmlns:p14="http://schemas.microsoft.com/office/powerpoint/2010/main" val="2112322999"/>
      </p:ext>
    </p:extLst>
  </p:cSld>
  <p:clrMapOvr>
    <a:masterClrMapping/>
  </p:clrMapOvr>
  <p:transition>
    <p:fade/>
  </p:transition>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1_Comparison">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sp>
        <p:nvSpPr>
          <p:cNvPr id="3" name="Text Placeholder 2"/>
          <p:cNvSpPr>
            <a:spLocks noGrp="1"/>
          </p:cNvSpPr>
          <p:nvPr>
            <p:ph type="body" idx="1"/>
          </p:nvPr>
        </p:nvSpPr>
        <p:spPr>
          <a:xfrm>
            <a:off x="389436"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34" indent="-302434">
              <a:buSzPct val="80000"/>
              <a:buFont typeface="Arial" pitchFamily="34" charset="0"/>
              <a:buChar char="•"/>
              <a:defRPr sz="2100"/>
            </a:lvl1pPr>
            <a:lvl2pPr marL="558431" indent="-241709">
              <a:buSzPct val="80000"/>
              <a:buFont typeface="Arial" pitchFamily="34" charset="0"/>
              <a:buChar char="•"/>
              <a:defRPr sz="2100"/>
            </a:lvl2pPr>
            <a:lvl3pPr marL="770373" indent="-211942" defTabSz="772755">
              <a:buSzPct val="80000"/>
              <a:buFont typeface="Arial" pitchFamily="34" charset="0"/>
              <a:buChar char="•"/>
              <a:defRPr sz="1800"/>
            </a:lvl3pPr>
            <a:lvl4pPr marL="988269" indent="-215514">
              <a:buSzPct val="80000"/>
              <a:buFont typeface="Arial" pitchFamily="34" charset="0"/>
              <a:buChar char="•"/>
              <a:defRPr sz="1500"/>
            </a:lvl4pPr>
            <a:lvl5pPr marL="1156155" indent="-167887">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2"/>
            <a:ext cx="4115872" cy="332399"/>
          </a:xfrm>
        </p:spPr>
        <p:txBody>
          <a:bodyPr anchor="b"/>
          <a:lstStyle>
            <a:lvl1pPr marL="0" indent="0">
              <a:lnSpc>
                <a:spcPct val="90000"/>
              </a:lnSpc>
              <a:spcBef>
                <a:spcPts val="0"/>
              </a:spcBef>
              <a:buNone/>
              <a:defRPr sz="2400" b="0">
                <a:latin typeface="Segoe UI Light" pitchFamily="34" charset="0"/>
              </a:defRPr>
            </a:lvl1pPr>
            <a:lvl2pPr marL="342904" indent="0">
              <a:buNone/>
              <a:defRPr sz="1500" b="1"/>
            </a:lvl2pPr>
            <a:lvl3pPr marL="685807" indent="0">
              <a:buNone/>
              <a:defRPr sz="1400" b="1"/>
            </a:lvl3pPr>
            <a:lvl4pPr marL="1028710" indent="0">
              <a:buNone/>
              <a:defRPr sz="1200" b="1"/>
            </a:lvl4pPr>
            <a:lvl5pPr marL="1371614" indent="0">
              <a:buNone/>
              <a:defRPr sz="1200" b="1"/>
            </a:lvl5pPr>
            <a:lvl6pPr marL="1714516" indent="0">
              <a:buNone/>
              <a:defRPr sz="1200" b="1"/>
            </a:lvl6pPr>
            <a:lvl7pPr marL="2057420" indent="0">
              <a:buNone/>
              <a:defRPr sz="1200" b="1"/>
            </a:lvl7pPr>
            <a:lvl8pPr marL="2400324" indent="0">
              <a:buNone/>
              <a:defRPr sz="1200" b="1"/>
            </a:lvl8pPr>
            <a:lvl9pPr marL="2743227"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52" indent="-222252">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916" indent="-3429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910" indent="-257188">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942" indent="-257188">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619" indent="-257188">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942" indent="-257188">
              <a:defRPr sz="1200"/>
            </a:lvl6pPr>
            <a:lvl7pPr marL="1202592" indent="-214323">
              <a:defRPr sz="1200"/>
            </a:lvl7pPr>
            <a:lvl8pPr>
              <a:defRPr sz="1200"/>
            </a:lvl8pPr>
            <a:lvl9pPr>
              <a:defRPr sz="1200"/>
            </a:lvl9pPr>
          </a:lstStyle>
          <a:p>
            <a:pPr marL="302434" lvl="0" indent="-302434" algn="l" defTabSz="685807" rtl="0" eaLnBrk="1" latinLnBrk="0" hangingPunct="1">
              <a:lnSpc>
                <a:spcPct val="90000"/>
              </a:lnSpc>
              <a:spcBef>
                <a:spcPct val="20000"/>
              </a:spcBef>
              <a:buSzPct val="80000"/>
            </a:pPr>
            <a:r>
              <a:rPr lang="en-US" smtClean="0"/>
              <a:t>Click to edit Master text styles</a:t>
            </a:r>
          </a:p>
          <a:p>
            <a:pPr marL="302434" lvl="1" indent="-302434" algn="l" defTabSz="685807" rtl="0" eaLnBrk="1" latinLnBrk="0" hangingPunct="1">
              <a:lnSpc>
                <a:spcPct val="90000"/>
              </a:lnSpc>
              <a:spcBef>
                <a:spcPct val="20000"/>
              </a:spcBef>
              <a:buSzPct val="80000"/>
            </a:pPr>
            <a:r>
              <a:rPr lang="en-US" smtClean="0"/>
              <a:t>Second level</a:t>
            </a:r>
          </a:p>
          <a:p>
            <a:pPr marL="302434" lvl="2" indent="-302434" algn="l" defTabSz="685807" rtl="0" eaLnBrk="1" latinLnBrk="0" hangingPunct="1">
              <a:lnSpc>
                <a:spcPct val="90000"/>
              </a:lnSpc>
              <a:spcBef>
                <a:spcPct val="20000"/>
              </a:spcBef>
              <a:buSzPct val="80000"/>
            </a:pPr>
            <a:r>
              <a:rPr lang="en-US" smtClean="0"/>
              <a:t>Third level</a:t>
            </a:r>
          </a:p>
          <a:p>
            <a:pPr marL="302434" lvl="3" indent="-302434" algn="l" defTabSz="685807" rtl="0" eaLnBrk="1" latinLnBrk="0" hangingPunct="1">
              <a:lnSpc>
                <a:spcPct val="90000"/>
              </a:lnSpc>
              <a:spcBef>
                <a:spcPct val="20000"/>
              </a:spcBef>
              <a:buSzPct val="80000"/>
            </a:pPr>
            <a:r>
              <a:rPr lang="en-US" smtClean="0"/>
              <a:t>Fourth level</a:t>
            </a:r>
          </a:p>
          <a:p>
            <a:pPr marL="302434" lvl="4" indent="-302434" algn="l" defTabSz="685807" rtl="0" eaLnBrk="1" latinLnBrk="0" hangingPunct="1">
              <a:lnSpc>
                <a:spcPct val="90000"/>
              </a:lnSpc>
              <a:spcBef>
                <a:spcPct val="20000"/>
              </a:spcBef>
              <a:buSzPct val="80000"/>
            </a:pPr>
            <a:r>
              <a:rPr lang="en-US" smtClean="0"/>
              <a:t>Fifth level</a:t>
            </a:r>
            <a:endParaRPr lang="en-US" dirty="0"/>
          </a:p>
        </p:txBody>
      </p:sp>
    </p:spTree>
    <p:extLst>
      <p:ext uri="{BB962C8B-B14F-4D97-AF65-F5344CB8AC3E}">
        <p14:creationId xmlns:p14="http://schemas.microsoft.com/office/powerpoint/2010/main" val="4068888524"/>
      </p:ext>
    </p:extLst>
  </p:cSld>
  <p:clrMapOvr>
    <a:masterClrMapping/>
  </p:clrMapOvr>
  <p:transition>
    <p:fade/>
  </p:transition>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2">
                    <a:alpha val="99000"/>
                  </a:schemeClr>
                </a:solidFill>
                <a:latin typeface="+mj-lt"/>
              </a:defRPr>
            </a:lvl1pPr>
            <a:lvl2pPr marL="0" indent="0">
              <a:buNone/>
              <a:defRPr sz="1500"/>
            </a:lvl2pPr>
            <a:lvl3pPr marL="175031" indent="0">
              <a:buNone/>
              <a:defRPr sz="1500"/>
            </a:lvl3pPr>
            <a:lvl4pPr marL="342916" indent="0">
              <a:buNone/>
              <a:defRPr sz="1500"/>
            </a:lvl4pPr>
            <a:lvl5pPr marL="520329" indent="0">
              <a:buNone/>
              <a:defRPr sz="15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solidFill>
                  <a:schemeClr val="tx2">
                    <a:alpha val="99000"/>
                  </a:schemeClr>
                </a:solidFill>
                <a:latin typeface="+mj-lt"/>
                <a:ea typeface="+mn-ea"/>
                <a:cs typeface="+mn-cs"/>
              </a:defRPr>
            </a:lvl1pPr>
            <a:lvl2pPr marL="2382"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31"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97"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68"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4220210297"/>
      </p:ext>
    </p:extLst>
  </p:cSld>
  <p:clrMapOvr>
    <a:masterClrMapping/>
  </p:clrMapOvr>
  <p:transition>
    <p:fade/>
  </p:transition>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
        <p:nvSpPr>
          <p:cNvPr id="6" name="Text Placeholder 5"/>
          <p:cNvSpPr>
            <a:spLocks noGrp="1"/>
          </p:cNvSpPr>
          <p:nvPr>
            <p:ph type="body" sz="quarter" idx="11"/>
          </p:nvPr>
        </p:nvSpPr>
        <p:spPr>
          <a:xfrm>
            <a:off x="390627" y="1085850"/>
            <a:ext cx="4047274" cy="1846660"/>
          </a:xfrm>
        </p:spPr>
        <p:txBody>
          <a:bodyPr/>
          <a:lstStyle>
            <a:lvl1pPr marL="0" indent="0">
              <a:spcBef>
                <a:spcPts val="900"/>
              </a:spcBef>
              <a:buNone/>
              <a:defRPr sz="3000">
                <a:solidFill>
                  <a:schemeClr val="tx1">
                    <a:alpha val="99000"/>
                  </a:schemeClr>
                </a:solidFill>
                <a:latin typeface="+mj-lt"/>
              </a:defRPr>
            </a:lvl1pPr>
            <a:lvl2pPr marL="0" indent="0">
              <a:buNone/>
              <a:defRPr sz="1500">
                <a:solidFill>
                  <a:schemeClr val="tx1">
                    <a:alpha val="99000"/>
                  </a:schemeClr>
                </a:solidFill>
              </a:defRPr>
            </a:lvl2pPr>
            <a:lvl3pPr marL="175031" indent="0">
              <a:buNone/>
              <a:defRPr sz="1500">
                <a:solidFill>
                  <a:schemeClr val="tx1">
                    <a:alpha val="99000"/>
                  </a:schemeClr>
                </a:solidFill>
              </a:defRPr>
            </a:lvl3pPr>
            <a:lvl4pPr marL="342916" indent="0">
              <a:buNone/>
              <a:defRPr sz="1500">
                <a:solidFill>
                  <a:schemeClr val="tx1">
                    <a:alpha val="99000"/>
                  </a:schemeClr>
                </a:solidFill>
              </a:defRPr>
            </a:lvl4pPr>
            <a:lvl5pPr marL="520329" indent="0">
              <a:buNone/>
              <a:defRPr sz="1500">
                <a:solidFill>
                  <a:schemeClr val="tx1">
                    <a:alpha val="99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 Placeholder 8"/>
          <p:cNvSpPr>
            <a:spLocks noGrp="1"/>
          </p:cNvSpPr>
          <p:nvPr>
            <p:ph type="body" sz="quarter" idx="12"/>
          </p:nvPr>
        </p:nvSpPr>
        <p:spPr>
          <a:xfrm>
            <a:off x="4709672" y="1085850"/>
            <a:ext cx="4047274" cy="1846660"/>
          </a:xfrm>
        </p:spPr>
        <p:txBody>
          <a:bodyPr/>
          <a:lstStyle>
            <a:lvl1pPr marL="0" indent="0">
              <a:spcBef>
                <a:spcPts val="900"/>
              </a:spcBef>
              <a:buNone/>
              <a:defRPr lang="en-US" sz="3000" kern="1200" spc="-53" baseline="0" dirty="0" smtClean="0">
                <a:solidFill>
                  <a:schemeClr val="tx1">
                    <a:alpha val="99000"/>
                  </a:schemeClr>
                </a:solidFill>
                <a:latin typeface="+mj-lt"/>
                <a:ea typeface="+mn-ea"/>
                <a:cs typeface="+mn-cs"/>
              </a:defRPr>
            </a:lvl1pPr>
            <a:lvl2pPr marL="2382"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2pPr>
            <a:lvl3pPr marL="175031"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3pPr>
            <a:lvl4pPr marL="345297"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smtClean="0">
                <a:solidFill>
                  <a:schemeClr val="tx1">
                    <a:alpha val="99000"/>
                  </a:schemeClr>
                </a:solidFill>
                <a:latin typeface="+mn-lt"/>
                <a:ea typeface="+mn-ea"/>
                <a:cs typeface="+mn-cs"/>
              </a:defRPr>
            </a:lvl4pPr>
            <a:lvl5pPr marL="515568" marR="0" indent="0" algn="l" defTabSz="685807" rtl="0" eaLnBrk="1" fontAlgn="auto" latinLnBrk="0" hangingPunct="1">
              <a:lnSpc>
                <a:spcPct val="90000"/>
              </a:lnSpc>
              <a:spcBef>
                <a:spcPct val="20000"/>
              </a:spcBef>
              <a:spcAft>
                <a:spcPts val="0"/>
              </a:spcAft>
              <a:buClrTx/>
              <a:buSzPct val="90000"/>
              <a:buFont typeface="Arial" pitchFamily="34" charset="0"/>
              <a:buNone/>
              <a:tabLst/>
              <a:defRPr lang="en-US" sz="1500" kern="1200" spc="0" baseline="0" dirty="0">
                <a:solidFill>
                  <a:schemeClr val="tx1">
                    <a:alpha val="99000"/>
                  </a:schemeClr>
                </a:solidFill>
                <a:latin typeface="+mn-lt"/>
                <a:ea typeface="+mn-ea"/>
                <a:cs typeface="+mn-cs"/>
              </a:defRPr>
            </a:lvl5pPr>
          </a:lstStyle>
          <a:p>
            <a:pPr marL="0" marR="0" lvl="0"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Click to edit Master text styles</a:t>
            </a:r>
          </a:p>
          <a:p>
            <a:pPr marL="0" marR="0" lvl="1"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Second level</a:t>
            </a:r>
          </a:p>
          <a:p>
            <a:pPr marL="0" marR="0" lvl="2"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Third level</a:t>
            </a:r>
          </a:p>
          <a:p>
            <a:pPr marL="0" marR="0" lvl="3"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ourth level</a:t>
            </a:r>
          </a:p>
          <a:p>
            <a:pPr marL="0" marR="0" lvl="4" indent="0" algn="l" defTabSz="685807" rtl="0" eaLnBrk="1" fontAlgn="auto" latinLnBrk="0" hangingPunct="1">
              <a:lnSpc>
                <a:spcPct val="90000"/>
              </a:lnSpc>
              <a:spcBef>
                <a:spcPct val="20000"/>
              </a:spcBef>
              <a:spcAft>
                <a:spcPts val="0"/>
              </a:spcAft>
              <a:buClrTx/>
              <a:buSzPct val="90000"/>
              <a:buFont typeface="Arial" pitchFamily="34" charset="0"/>
              <a:buNone/>
              <a:tabLst/>
            </a:pPr>
            <a:r>
              <a:rPr lang="en-US" dirty="0" smtClean="0"/>
              <a:t>Fifth level</a:t>
            </a:r>
            <a:endParaRPr lang="en-US" dirty="0"/>
          </a:p>
        </p:txBody>
      </p:sp>
    </p:spTree>
    <p:extLst>
      <p:ext uri="{BB962C8B-B14F-4D97-AF65-F5344CB8AC3E}">
        <p14:creationId xmlns:p14="http://schemas.microsoft.com/office/powerpoint/2010/main" val="1944380220"/>
      </p:ext>
    </p:extLst>
  </p:cSld>
  <p:clrMapOvr>
    <a:masterClrMapping/>
  </p:clrMapOvr>
  <p:transition>
    <p:fade/>
  </p:transition>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952607975"/>
      </p:ext>
    </p:extLst>
  </p:cSld>
  <p:clrMapOvr>
    <a:masterClrMapping/>
  </p:clrMapOvr>
  <p:transition>
    <p:fade/>
  </p:transition>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1005929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chemeClr val="bg1">
                    <a:alpha val="99000"/>
                  </a:schemeClr>
                </a:solidFill>
                <a:latin typeface="Segoe UI" pitchFamily="34" charset="0"/>
                <a:cs typeface="Arial" charset="0"/>
              </a:rPr>
              <a:t>© </a:t>
            </a:r>
            <a:r>
              <a:rPr lang="en-US" sz="500" dirty="0" smtClean="0">
                <a:solidFill>
                  <a:schemeClr val="bg1">
                    <a:alpha val="99000"/>
                  </a:schemeClr>
                </a:solidFill>
                <a:latin typeface="Segoe UI" pitchFamily="34" charset="0"/>
                <a:cs typeface="Arial" charset="0"/>
              </a:rPr>
              <a:t>2012 Microsoft </a:t>
            </a:r>
            <a:r>
              <a:rPr lang="en-US" sz="500" dirty="0">
                <a:solidFill>
                  <a:schemeClr val="bg1">
                    <a:alpha val="99000"/>
                  </a:schemeClr>
                </a:soli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chemeClr val="bg1">
                    <a:alpha val="99000"/>
                  </a:schemeClr>
                </a:soli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chemeClr val="bg1">
                    <a:alpha val="99000"/>
                  </a:schemeClr>
                </a:solidFill>
                <a:latin typeface="Segoe UI" pitchFamily="34" charset="0"/>
                <a:cs typeface="Arial" charset="0"/>
              </a:rPr>
              <a:t>MICROSOFT </a:t>
            </a:r>
            <a:r>
              <a:rPr lang="en-US" sz="500" dirty="0">
                <a:solidFill>
                  <a:schemeClr val="bg1">
                    <a:alpha val="99000"/>
                  </a:schemeClr>
                </a:soli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2640209842"/>
      </p:ext>
    </p:extLst>
  </p:cSld>
  <p:clrMapOvr>
    <a:masterClrMapping/>
  </p:clrMapOvr>
  <p:transition>
    <p:fade/>
  </p:transition>
  <p:timing>
    <p:tnLst>
      <p:par>
        <p:cTn id="1" dur="indefinite" restart="never" nodeType="tmRoot"/>
      </p:par>
    </p:tnLst>
  </p:timing>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7" name="Rectangle 3"/>
          <p:cNvSpPr/>
          <p:nvPr userDrawn="1"/>
        </p:nvSpPr>
        <p:spPr bwMode="auto">
          <a:xfrm>
            <a:off x="0" y="0"/>
            <a:ext cx="9144000" cy="5143500"/>
          </a:xfrm>
          <a:custGeom>
            <a:avLst/>
            <a:gdLst/>
            <a:ahLst/>
            <a:cxnLst/>
            <a:rect l="l" t="t" r="r" b="b"/>
            <a:pathLst>
              <a:path w="12188825" h="6858000">
                <a:moveTo>
                  <a:pt x="0" y="0"/>
                </a:moveTo>
                <a:lnTo>
                  <a:pt x="1" y="0"/>
                </a:lnTo>
                <a:lnTo>
                  <a:pt x="308345" y="0"/>
                </a:lnTo>
                <a:lnTo>
                  <a:pt x="12188825" y="0"/>
                </a:lnTo>
                <a:lnTo>
                  <a:pt x="12188825" y="1447800"/>
                </a:lnTo>
                <a:lnTo>
                  <a:pt x="308345" y="1447800"/>
                </a:lnTo>
                <a:lnTo>
                  <a:pt x="308345" y="6858000"/>
                </a:lnTo>
                <a:lnTo>
                  <a:pt x="1" y="6858000"/>
                </a:lnTo>
                <a:lnTo>
                  <a:pt x="1" y="1447800"/>
                </a:lnTo>
                <a:lnTo>
                  <a:pt x="0" y="1447800"/>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0" tIns="34291" rIns="68580" bIns="34291" numCol="1" rtlCol="0" anchor="ctr" anchorCtr="0" compatLnSpc="1">
            <a:prstTxWarp prst="textNoShape">
              <a:avLst/>
            </a:prstTxWarp>
          </a:bodyPr>
          <a:lstStyle/>
          <a:p>
            <a:pPr algn="ctr" defTabSz="685609"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p:txBody>
          <a:bodyPr/>
          <a:lstStyle>
            <a:lvl1pPr>
              <a:defRPr>
                <a:solidFill>
                  <a:schemeClr val="bg1">
                    <a:alpha val="99000"/>
                  </a:schemeClr>
                </a:solidFill>
              </a:defRPr>
            </a:lvl1pPr>
          </a:lstStyle>
          <a:p>
            <a:r>
              <a:rPr lang="en-US" dirty="0" smtClean="0"/>
              <a:t>Slide for Developer Code</a:t>
            </a:r>
            <a:endParaRPr lang="en-US" dirty="0"/>
          </a:p>
        </p:txBody>
      </p:sp>
      <p:sp>
        <p:nvSpPr>
          <p:cNvPr id="5" name="Text Placeholder 4"/>
          <p:cNvSpPr>
            <a:spLocks noGrp="1"/>
          </p:cNvSpPr>
          <p:nvPr>
            <p:ph type="body" sz="quarter" idx="10"/>
          </p:nvPr>
        </p:nvSpPr>
        <p:spPr>
          <a:xfrm>
            <a:off x="388840" y="1287018"/>
            <a:ext cx="8366320" cy="1491178"/>
          </a:xfrm>
        </p:spPr>
        <p:txBody>
          <a:bodyPr/>
          <a:lstStyle>
            <a:lvl1pPr marL="0" indent="0">
              <a:buNone/>
              <a:defRPr sz="2400">
                <a:gradFill>
                  <a:gsLst>
                    <a:gs pos="1250">
                      <a:srgbClr val="000000"/>
                    </a:gs>
                    <a:gs pos="100000">
                      <a:srgbClr val="000000"/>
                    </a:gs>
                  </a:gsLst>
                  <a:lin ang="5400000" scaled="0"/>
                </a:gradFill>
                <a:latin typeface="Consolas" pitchFamily="49" charset="0"/>
                <a:cs typeface="Consolas" pitchFamily="49" charset="0"/>
              </a:defRPr>
            </a:lvl1pPr>
            <a:lvl2pPr marL="254807" indent="0">
              <a:buNone/>
              <a:defRPr>
                <a:gradFill>
                  <a:gsLst>
                    <a:gs pos="1250">
                      <a:srgbClr val="000000"/>
                    </a:gs>
                    <a:gs pos="100000">
                      <a:srgbClr val="000000"/>
                    </a:gs>
                  </a:gsLst>
                  <a:lin ang="5400000" scaled="0"/>
                </a:gradFill>
                <a:latin typeface="Consolas" pitchFamily="49" charset="0"/>
                <a:cs typeface="Consolas" pitchFamily="49" charset="0"/>
              </a:defRPr>
            </a:lvl2pPr>
            <a:lvl3pPr marL="429837" indent="0">
              <a:buNone/>
              <a:defRPr>
                <a:gradFill>
                  <a:gsLst>
                    <a:gs pos="1250">
                      <a:srgbClr val="000000"/>
                    </a:gs>
                    <a:gs pos="100000">
                      <a:srgbClr val="000000"/>
                    </a:gs>
                  </a:gsLst>
                  <a:lin ang="5400000" scaled="0"/>
                </a:gradFill>
                <a:latin typeface="Consolas" pitchFamily="49" charset="0"/>
                <a:cs typeface="Consolas" pitchFamily="49" charset="0"/>
              </a:defRPr>
            </a:lvl3pPr>
            <a:lvl4pPr marL="598915" indent="0">
              <a:buNone/>
              <a:defRPr>
                <a:gradFill>
                  <a:gsLst>
                    <a:gs pos="1250">
                      <a:srgbClr val="000000"/>
                    </a:gs>
                    <a:gs pos="100000">
                      <a:srgbClr val="000000"/>
                    </a:gs>
                  </a:gsLst>
                  <a:lin ang="5400000" scaled="0"/>
                </a:gradFill>
                <a:latin typeface="Consolas" pitchFamily="49" charset="0"/>
                <a:cs typeface="Consolas" pitchFamily="49" charset="0"/>
              </a:defRPr>
            </a:lvl4pPr>
            <a:lvl5pPr marL="772755" indent="0">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336634412"/>
      </p:ext>
    </p:extLst>
  </p:cSld>
  <p:clrMapOvr>
    <a:masterClrMapping/>
  </p:clrMapOvr>
  <p:transition>
    <p:fade/>
  </p:transition>
  <p:timing>
    <p:tnLst>
      <p:par>
        <p:cTn id="1" dur="indefinite" restart="never" nodeType="tmRoot"/>
      </p:par>
    </p:tnLst>
  </p:timing>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MS END">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279198"/>
      </p:ext>
    </p:extLst>
  </p:cSld>
  <p:clrMapOvr>
    <a:masterClrMapping/>
  </p:clrMapOvr>
  <p:transition>
    <p:fade/>
  </p:transition>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390627" y="171450"/>
            <a:ext cx="8366320" cy="498598"/>
          </a:xfrm>
        </p:spPr>
        <p:txBody>
          <a:bodyPr/>
          <a:lstStyle>
            <a:lvl1pPr>
              <a:defRPr sz="3600"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
        <p:nvSpPr>
          <p:cNvPr id="6" name="Text Placeholder 5"/>
          <p:cNvSpPr>
            <a:spLocks noGrp="1"/>
          </p:cNvSpPr>
          <p:nvPr>
            <p:ph type="body" sz="quarter" idx="10" hasCustomPrompt="1"/>
          </p:nvPr>
        </p:nvSpPr>
        <p:spPr bwMode="white">
          <a:xfrm>
            <a:off x="389436" y="1085849"/>
            <a:ext cx="8363938" cy="1532727"/>
          </a:xfrm>
          <a:prstGeom prst="rect">
            <a:avLst/>
          </a:prstGeom>
        </p:spPr>
        <p:txBody>
          <a:bodyPr/>
          <a:lstStyle>
            <a:lvl1pPr marL="257188" indent="-257188">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471511" indent="-21432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685834" indent="-214323">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857292" indent="-17145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028751" indent="-17145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4679157"/>
            <a:ext cx="9144001" cy="464344"/>
          </a:xfrm>
          <a:prstGeom prst="rect">
            <a:avLst/>
          </a:prstGeom>
          <a:solidFill>
            <a:srgbClr val="FFFF99"/>
          </a:solidFill>
        </p:spPr>
        <p:txBody>
          <a:bodyPr wrap="square" lIns="114301" tIns="57149" rIns="114301" bIns="57149" anchor="b" anchorCtr="0">
            <a:noAutofit/>
          </a:bodyPr>
          <a:lstStyle>
            <a:lvl1pPr algn="r">
              <a:buFont typeface="Arial" pitchFamily="34" charset="0"/>
              <a:buNone/>
              <a:defRPr sz="2700" spc="-38"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Tree>
    <p:extLst>
      <p:ext uri="{BB962C8B-B14F-4D97-AF65-F5344CB8AC3E}">
        <p14:creationId xmlns:p14="http://schemas.microsoft.com/office/powerpoint/2010/main" val="966064737"/>
      </p:ext>
    </p:extLst>
  </p:cSld>
  <p:clrMapOvr>
    <a:masterClrMapping/>
  </p:clrMapOvr>
  <p:transition>
    <p:fade/>
  </p:transition>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1379566237"/>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8" y="2002079"/>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8"/>
            <a:ext cx="5289917" cy="549413"/>
          </a:xfrm>
        </p:spPr>
        <p:txBody>
          <a:bodyPr>
            <a:normAutofit/>
          </a:bodyPr>
          <a:lstStyle>
            <a:lvl1pPr marL="0" indent="0" algn="l">
              <a:buNone/>
              <a:defRPr sz="2000" b="0" i="0">
                <a:solidFill>
                  <a:srgbClr val="FFFFFF"/>
                </a:solidFill>
                <a:latin typeface="Segoe"/>
                <a:cs typeface="Segoe"/>
              </a:defRPr>
            </a:lvl1pPr>
            <a:lvl2pPr marL="457086" indent="0" algn="ctr">
              <a:buNone/>
              <a:defRPr>
                <a:solidFill>
                  <a:schemeClr val="tx1">
                    <a:tint val="75000"/>
                  </a:schemeClr>
                </a:solidFill>
              </a:defRPr>
            </a:lvl2pPr>
            <a:lvl3pPr marL="914172" indent="0" algn="ctr">
              <a:buNone/>
              <a:defRPr>
                <a:solidFill>
                  <a:schemeClr val="tx1">
                    <a:tint val="75000"/>
                  </a:schemeClr>
                </a:solidFill>
              </a:defRPr>
            </a:lvl3pPr>
            <a:lvl4pPr marL="1371258" indent="0" algn="ctr">
              <a:buNone/>
              <a:defRPr>
                <a:solidFill>
                  <a:schemeClr val="tx1">
                    <a:tint val="75000"/>
                  </a:schemeClr>
                </a:solidFill>
              </a:defRPr>
            </a:lvl4pPr>
            <a:lvl5pPr marL="1828344" indent="0" algn="ctr">
              <a:buNone/>
              <a:defRPr>
                <a:solidFill>
                  <a:schemeClr val="tx1">
                    <a:tint val="75000"/>
                  </a:schemeClr>
                </a:solidFill>
              </a:defRPr>
            </a:lvl5pPr>
            <a:lvl6pPr marL="2285426" indent="0" algn="ctr">
              <a:buNone/>
              <a:defRPr>
                <a:solidFill>
                  <a:schemeClr val="tx1">
                    <a:tint val="75000"/>
                  </a:schemeClr>
                </a:solidFill>
              </a:defRPr>
            </a:lvl6pPr>
            <a:lvl7pPr marL="2742516" indent="0" algn="ctr">
              <a:buNone/>
              <a:defRPr>
                <a:solidFill>
                  <a:schemeClr val="tx1">
                    <a:tint val="75000"/>
                  </a:schemeClr>
                </a:solidFill>
              </a:defRPr>
            </a:lvl7pPr>
            <a:lvl8pPr marL="3199599" indent="0" algn="ctr">
              <a:buNone/>
              <a:defRPr>
                <a:solidFill>
                  <a:schemeClr val="tx1">
                    <a:tint val="75000"/>
                  </a:schemeClr>
                </a:solidFill>
              </a:defRPr>
            </a:lvl8pPr>
            <a:lvl9pPr marL="3656684"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415129880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3"/>
            <a:ext cx="3959352" cy="2127121"/>
          </a:xfrm>
        </p:spPr>
        <p:txBody>
          <a:bodyPr/>
          <a:lstStyle>
            <a:lvl1pPr marL="339878" indent="-339878">
              <a:lnSpc>
                <a:spcPct val="90000"/>
              </a:lnSpc>
              <a:defRPr sz="2800">
                <a:solidFill>
                  <a:schemeClr val="tx1">
                    <a:lumMod val="65000"/>
                    <a:lumOff val="35000"/>
                  </a:schemeClr>
                </a:solidFill>
              </a:defRPr>
            </a:lvl1pPr>
            <a:lvl2pPr marL="673142" indent="-325330">
              <a:lnSpc>
                <a:spcPct val="90000"/>
              </a:lnSpc>
              <a:defRPr sz="2400">
                <a:solidFill>
                  <a:schemeClr val="tx1">
                    <a:lumMod val="65000"/>
                    <a:lumOff val="35000"/>
                  </a:schemeClr>
                </a:solidFill>
              </a:defRPr>
            </a:lvl2pPr>
            <a:lvl3pPr marL="953505" indent="-288300">
              <a:lnSpc>
                <a:spcPct val="90000"/>
              </a:lnSpc>
              <a:defRPr sz="2000">
                <a:solidFill>
                  <a:schemeClr val="tx1">
                    <a:lumMod val="65000"/>
                    <a:lumOff val="35000"/>
                  </a:schemeClr>
                </a:solidFill>
              </a:defRPr>
            </a:lvl3pPr>
            <a:lvl4pPr marL="1227261" indent="-273751">
              <a:lnSpc>
                <a:spcPct val="90000"/>
              </a:lnSpc>
              <a:defRPr sz="1800">
                <a:solidFill>
                  <a:schemeClr val="tx1">
                    <a:lumMod val="65000"/>
                    <a:lumOff val="35000"/>
                  </a:schemeClr>
                </a:solidFill>
              </a:defRPr>
            </a:lvl4pPr>
            <a:lvl5pPr marL="1515561" indent="-280363">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6" y="1115573"/>
            <a:ext cx="3962401" cy="2127121"/>
          </a:xfrm>
        </p:spPr>
        <p:txBody>
          <a:bodyPr/>
          <a:lstStyle>
            <a:lvl1pPr marL="347809" indent="-347809">
              <a:lnSpc>
                <a:spcPct val="90000"/>
              </a:lnSpc>
              <a:defRPr sz="2800">
                <a:solidFill>
                  <a:schemeClr val="tx1">
                    <a:lumMod val="65000"/>
                    <a:lumOff val="35000"/>
                  </a:schemeClr>
                </a:solidFill>
              </a:defRPr>
            </a:lvl1pPr>
            <a:lvl2pPr marL="673142" indent="-339878">
              <a:lnSpc>
                <a:spcPct val="90000"/>
              </a:lnSpc>
              <a:defRPr sz="2400">
                <a:solidFill>
                  <a:schemeClr val="tx1">
                    <a:lumMod val="65000"/>
                    <a:lumOff val="35000"/>
                  </a:schemeClr>
                </a:solidFill>
              </a:defRPr>
            </a:lvl2pPr>
            <a:lvl3pPr marL="961442" indent="-302851">
              <a:lnSpc>
                <a:spcPct val="90000"/>
              </a:lnSpc>
              <a:defRPr sz="2000">
                <a:solidFill>
                  <a:schemeClr val="tx1">
                    <a:lumMod val="65000"/>
                    <a:lumOff val="35000"/>
                  </a:schemeClr>
                </a:solidFill>
              </a:defRPr>
            </a:lvl3pPr>
            <a:lvl4pPr marL="1227261" indent="-265819">
              <a:lnSpc>
                <a:spcPct val="90000"/>
              </a:lnSpc>
              <a:defRPr sz="1800">
                <a:solidFill>
                  <a:schemeClr val="tx1">
                    <a:lumMod val="65000"/>
                    <a:lumOff val="35000"/>
                  </a:schemeClr>
                </a:solidFill>
              </a:defRPr>
            </a:lvl4pPr>
            <a:lvl5pPr marL="1515561" indent="-273751">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16" tIns="45708" rIns="91416" bIns="45708"/>
          <a:lstStyle>
            <a:lvl1pPr algn="ctr">
              <a:defRPr b="0" i="0">
                <a:solidFill>
                  <a:schemeClr val="tx1">
                    <a:lumMod val="95000"/>
                    <a:lumOff val="5000"/>
                  </a:schemeClr>
                </a:solidFill>
                <a:latin typeface="Segoe"/>
                <a:cs typeface="Segoe"/>
              </a:defRPr>
            </a:lvl1pPr>
          </a:lstStyle>
          <a:p>
            <a:fld id="{1C24C1D7-E85D-3D41-874A-BD44A6CAB932}" type="slidenum">
              <a:rPr lang="en-US" smtClean="0"/>
              <a:pPr/>
              <a:t>‹#›</a:t>
            </a:fld>
            <a:endParaRPr lang="en-US" dirty="0"/>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9" y="4555404"/>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5"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5" y="4674881"/>
            <a:ext cx="1386137" cy="371475"/>
          </a:xfrm>
          <a:prstGeom prst="rect">
            <a:avLst/>
          </a:prstGeom>
        </p:spPr>
      </p:pic>
    </p:spTree>
    <p:extLst>
      <p:ext uri="{BB962C8B-B14F-4D97-AF65-F5344CB8AC3E}">
        <p14:creationId xmlns:p14="http://schemas.microsoft.com/office/powerpoint/2010/main" val="3476471056"/>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16" tIns="45708" rIns="91416" bIns="45708"/>
          <a:lstStyle>
            <a:lvl1pPr algn="l">
              <a:defRPr b="0" i="0">
                <a:solidFill>
                  <a:srgbClr val="FFFFFF"/>
                </a:solidFill>
                <a:latin typeface="Segoe"/>
                <a:cs typeface="Segoe"/>
              </a:defRPr>
            </a:lvl1pPr>
          </a:lstStyle>
          <a:p>
            <a:fld id="{B6F15528-21DE-4FAA-801E-634DDDAF4B2B}" type="slidenum">
              <a:rPr lang="en-US" smtClean="0"/>
              <a:pPr/>
              <a:t>‹#›</a:t>
            </a:fld>
            <a:endParaRPr lang="en-US"/>
          </a:p>
        </p:txBody>
      </p:sp>
    </p:spTree>
    <p:extLst>
      <p:ext uri="{BB962C8B-B14F-4D97-AF65-F5344CB8AC3E}">
        <p14:creationId xmlns:p14="http://schemas.microsoft.com/office/powerpoint/2010/main" val="3275837799"/>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41694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32727"/>
          </a:xfrm>
          <a:prstGeom prst="rect">
            <a:avLst/>
          </a:prstGeom>
        </p:spPr>
        <p:txBody>
          <a:bodyPr/>
          <a:lstStyle>
            <a:lvl1pPr marL="213142" indent="-213142">
              <a:buFont typeface="Wingdings" pitchFamily="2" charset="2"/>
              <a:buChar char=""/>
              <a:defRPr sz="3000"/>
            </a:lvl1pPr>
            <a:lvl2pPr marL="388180" indent="-175039">
              <a:buFont typeface="Wingdings" pitchFamily="2" charset="2"/>
              <a:buChar char=""/>
              <a:defRPr>
                <a:latin typeface="+mn-lt"/>
              </a:defRPr>
            </a:lvl2pPr>
            <a:lvl3pPr marL="556073" indent="-167894">
              <a:buFont typeface="Wingdings" pitchFamily="2" charset="2"/>
              <a:buChar char=""/>
              <a:tabLst/>
              <a:defRPr>
                <a:latin typeface="+mn-lt"/>
              </a:defRPr>
            </a:lvl3pPr>
            <a:lvl4pPr marL="685862" indent="-129791">
              <a:buFont typeface="Wingdings" pitchFamily="2" charset="2"/>
              <a:buChar char=""/>
              <a:defRPr>
                <a:latin typeface="+mn-lt"/>
              </a:defRPr>
            </a:lvl4pPr>
            <a:lvl5pPr marL="815653" indent="-129791">
              <a:buFont typeface="Wingdings" pitchFamily="2" charset="2"/>
              <a:buChar char=""/>
              <a:tabLst/>
              <a:defRPr>
                <a:latin typeface="+mn-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300820"/>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89436" y="1085849"/>
            <a:ext cx="8363938" cy="1532727"/>
          </a:xfrm>
          <a:prstGeom prst="rect">
            <a:avLst/>
          </a:prstGeom>
        </p:spPr>
        <p:txBody>
          <a:bodyPr/>
          <a:lstStyle>
            <a:lvl1pPr marL="0" indent="0">
              <a:spcBef>
                <a:spcPts val="1800"/>
              </a:spcBef>
              <a:buNone/>
              <a:defRPr sz="3000">
                <a:solidFill>
                  <a:schemeClr val="tx2">
                    <a:alpha val="99000"/>
                  </a:schemeClr>
                </a:solidFill>
                <a:latin typeface="+mj-lt"/>
              </a:defRPr>
            </a:lvl1pPr>
            <a:lvl2pPr marL="0" indent="0">
              <a:buNone/>
              <a:defRPr lang="en-US" sz="1800" kern="1200" spc="0" baseline="0" dirty="0" smtClean="0">
                <a:solidFill>
                  <a:schemeClr val="tx1">
                    <a:alpha val="99000"/>
                  </a:schemeClr>
                </a:solidFill>
                <a:latin typeface="+mn-lt"/>
                <a:ea typeface="+mn-ea"/>
                <a:cs typeface="+mn-cs"/>
              </a:defRPr>
            </a:lvl2pPr>
            <a:lvl3pPr marL="173839" indent="0">
              <a:buNone/>
              <a:defRPr lang="en-US" sz="1800" kern="1200" spc="0" baseline="0" dirty="0" smtClean="0">
                <a:solidFill>
                  <a:schemeClr val="tx1">
                    <a:alpha val="99000"/>
                  </a:schemeClr>
                </a:solidFill>
                <a:latin typeface="+mn-lt"/>
                <a:ea typeface="+mn-ea"/>
                <a:cs typeface="+mn-cs"/>
              </a:defRPr>
            </a:lvl3pPr>
            <a:lvl4pPr marL="342916" indent="0">
              <a:buNone/>
              <a:defRPr lang="en-US" sz="1500" kern="1200" spc="0" baseline="0" dirty="0" smtClean="0">
                <a:solidFill>
                  <a:schemeClr val="tx1">
                    <a:alpha val="99000"/>
                  </a:schemeClr>
                </a:solidFill>
                <a:latin typeface="+mn-lt"/>
                <a:ea typeface="+mn-ea"/>
                <a:cs typeface="+mn-cs"/>
              </a:defRPr>
            </a:lvl4pPr>
            <a:lvl5pPr marL="520329" indent="0">
              <a:buNone/>
              <a:defRPr lang="en-US" sz="1500" kern="1200" spc="0" baseline="0" dirty="0">
                <a:solidFill>
                  <a:schemeClr val="tx1">
                    <a:alpha val="99000"/>
                  </a:schemeClr>
                </a:solidFill>
                <a:latin typeface="+mn-lt"/>
                <a:ea typeface="+mn-ea"/>
                <a:cs typeface="+mn-cs"/>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p:txBody>
          <a:bodyPr/>
          <a:lstStyle>
            <a:lvl1pPr algn="l" defTabSz="685807" rtl="0" eaLnBrk="1" latinLnBrk="0" hangingPunct="1">
              <a:lnSpc>
                <a:spcPct val="90000"/>
              </a:lnSpc>
              <a:spcBef>
                <a:spcPct val="0"/>
              </a:spcBef>
              <a:buNone/>
              <a:defRPr lang="en-US" sz="4100" b="0" kern="1200" cap="none" spc="-75" baseline="0" dirty="0">
                <a:ln w="3175">
                  <a:noFill/>
                </a:ln>
                <a:solidFill>
                  <a:schemeClr val="tx1">
                    <a:alpha val="99000"/>
                  </a:schemeClr>
                </a:solidFill>
                <a:effectLst/>
                <a:latin typeface="+mj-lt"/>
                <a:ea typeface="+mn-ea"/>
                <a:cs typeface="Arial"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90952057"/>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2"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3" y="3459262"/>
            <a:ext cx="4091815" cy="858697"/>
          </a:xfrm>
        </p:spPr>
        <p:txBody>
          <a:bodyPr/>
          <a:lstStyle>
            <a:lvl1pPr marL="0" indent="0">
              <a:buFont typeface="Arial" pitchFamily="34" charset="0"/>
              <a:buNone/>
              <a:defRPr sz="1800">
                <a:solidFill>
                  <a:schemeClr val="bg1">
                    <a:alpha val="98000"/>
                  </a:schemeClr>
                </a:solidFill>
                <a:latin typeface="+mj-lt"/>
              </a:defRPr>
            </a:lvl1pPr>
            <a:lvl2pPr marL="345237" indent="0">
              <a:buFont typeface="Arial" pitchFamily="34" charset="0"/>
              <a:buNone/>
              <a:defRPr/>
            </a:lvl2pPr>
            <a:lvl3pPr marL="641672" indent="0">
              <a:buFont typeface="Arial" pitchFamily="34" charset="0"/>
              <a:buNone/>
              <a:defRPr/>
            </a:lvl3pPr>
            <a:lvl4pPr marL="944058" indent="0">
              <a:buFont typeface="Arial" pitchFamily="34" charset="0"/>
              <a:buNone/>
              <a:defRPr/>
            </a:lvl4pPr>
            <a:lvl5pPr marL="1203577"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07469686"/>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058" indent="-302386">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577" indent="-25952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967" indent="-252383">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dirty="0" smtClean="0"/>
              <a:t>Click to edit Master text styles</a:t>
            </a:r>
          </a:p>
          <a:p>
            <a:pPr lvl="1"/>
            <a:r>
              <a:rPr lang="en-US" dirty="0"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3" name="TextBox 2"/>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542507130"/>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858068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6" name="TextBox 5"/>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2891738186"/>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673" indent="-257146">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46" indent="-257146">
              <a:spcBef>
                <a:spcPts val="0"/>
              </a:spcBef>
              <a:spcAft>
                <a:spcPts val="300"/>
              </a:spcAft>
              <a:buFont typeface="Arial" pitchFamily="34" charset="0"/>
              <a:buChar char="•"/>
              <a:defRPr/>
            </a:lvl5pPr>
            <a:lvl6pPr marL="775003" indent="-257146">
              <a:buFont typeface="Arial" pitchFamily="34" charset="0"/>
              <a:buChar char="•"/>
              <a:defRPr sz="1800">
                <a:gradFill>
                  <a:gsLst>
                    <a:gs pos="0">
                      <a:srgbClr val="595959"/>
                    </a:gs>
                    <a:gs pos="86000">
                      <a:srgbClr val="595959"/>
                    </a:gs>
                  </a:gsLst>
                  <a:lin ang="5400000" scaled="0"/>
                </a:gradFill>
              </a:defRPr>
            </a:lvl6pPr>
            <a:lvl7pPr marL="941676" indent="-169049">
              <a:defRPr>
                <a:gradFill>
                  <a:gsLst>
                    <a:gs pos="0">
                      <a:srgbClr val="595959"/>
                    </a:gs>
                    <a:gs pos="86000">
                      <a:srgbClr val="595959"/>
                    </a:gs>
                  </a:gsLst>
                  <a:lin ang="5400000" scaled="0"/>
                </a:gradFill>
              </a:defRPr>
            </a:lvl7pPr>
            <a:lvl8pPr marL="1115486" indent="-173809">
              <a:defRPr>
                <a:gradFill>
                  <a:gsLst>
                    <a:gs pos="0">
                      <a:srgbClr val="595959"/>
                    </a:gs>
                    <a:gs pos="86000">
                      <a:srgbClr val="595959"/>
                    </a:gs>
                  </a:gsLst>
                  <a:lin ang="5400000" scaled="0"/>
                </a:gradFill>
              </a:defRPr>
            </a:lvl8pPr>
          </a:lstStyle>
          <a:p>
            <a:pPr marL="259525" lvl="0" indent="-259525" algn="l" defTabSz="685693" rtl="0" eaLnBrk="1" latinLnBrk="0" hangingPunct="1">
              <a:lnSpc>
                <a:spcPct val="90000"/>
              </a:lnSpc>
              <a:spcBef>
                <a:spcPct val="20000"/>
              </a:spcBef>
              <a:buSzPct val="90000"/>
              <a:buFont typeface="Arial" pitchFamily="34" charset="0"/>
              <a:buChar char="•"/>
            </a:pPr>
            <a:r>
              <a:rPr lang="en-US" smtClean="0"/>
              <a:t>Click to edit Master text styles</a:t>
            </a:r>
          </a:p>
          <a:p>
            <a:pPr marL="259525" lvl="1" indent="-259525" algn="l" defTabSz="685693" rtl="0" eaLnBrk="1" latinLnBrk="0" hangingPunct="1">
              <a:lnSpc>
                <a:spcPct val="90000"/>
              </a:lnSpc>
              <a:spcBef>
                <a:spcPct val="20000"/>
              </a:spcBef>
              <a:buSzPct val="90000"/>
              <a:buFont typeface="Arial" pitchFamily="34" charset="0"/>
              <a:buChar char="•"/>
            </a:pPr>
            <a:r>
              <a:rPr lang="en-US" smtClean="0"/>
              <a:t>Second level</a:t>
            </a:r>
          </a:p>
          <a:p>
            <a:pPr marL="259525" lvl="2" indent="-259525" algn="l" defTabSz="685693" rtl="0" eaLnBrk="1" latinLnBrk="0" hangingPunct="1">
              <a:lnSpc>
                <a:spcPct val="90000"/>
              </a:lnSpc>
              <a:spcBef>
                <a:spcPct val="20000"/>
              </a:spcBef>
              <a:buSzPct val="90000"/>
              <a:buFont typeface="Arial" pitchFamily="34" charset="0"/>
              <a:buChar char="•"/>
            </a:pPr>
            <a:r>
              <a:rPr lang="en-US" smtClean="0"/>
              <a:t>Third level</a:t>
            </a:r>
          </a:p>
          <a:p>
            <a:pPr marL="259525" lvl="3" indent="-259525" algn="l" defTabSz="685693" rtl="0" eaLnBrk="1" latinLnBrk="0" hangingPunct="1">
              <a:lnSpc>
                <a:spcPct val="90000"/>
              </a:lnSpc>
              <a:spcBef>
                <a:spcPct val="20000"/>
              </a:spcBef>
              <a:buSzPct val="90000"/>
              <a:buFont typeface="Arial" pitchFamily="34" charset="0"/>
              <a:buChar char="•"/>
            </a:pPr>
            <a:r>
              <a:rPr lang="en-US" smtClean="0"/>
              <a:t>Fourth level</a:t>
            </a:r>
          </a:p>
          <a:p>
            <a:pPr marL="259525" lvl="4" indent="-259525" algn="l" defTabSz="685693"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520412128"/>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8" name="TextBox 7"/>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extLst>
      <p:ext uri="{BB962C8B-B14F-4D97-AF65-F5344CB8AC3E}">
        <p14:creationId xmlns:p14="http://schemas.microsoft.com/office/powerpoint/2010/main" val="4067111690"/>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dirty="0"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3828749812"/>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extLst>
      <p:ext uri="{BB962C8B-B14F-4D97-AF65-F5344CB8AC3E}">
        <p14:creationId xmlns:p14="http://schemas.microsoft.com/office/powerpoint/2010/main" val="1871460936"/>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dirty="0"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dirty="0" smtClean="0"/>
              <a:t>Click to edit Master text styles</a:t>
            </a:r>
          </a:p>
          <a:p>
            <a:pPr marL="2382" lvl="1" indent="0" algn="l" defTabSz="685693" rtl="0" eaLnBrk="1" latinLnBrk="0" hangingPunct="1">
              <a:lnSpc>
                <a:spcPct val="90000"/>
              </a:lnSpc>
              <a:spcBef>
                <a:spcPts val="0"/>
              </a:spcBef>
              <a:buSzPct val="80000"/>
              <a:buFont typeface="Arial" pitchFamily="34" charset="0"/>
              <a:buNone/>
            </a:pPr>
            <a:r>
              <a:rPr lang="en-US" dirty="0"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1280475818"/>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5246408"/>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591"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1" tIns="34286" rIns="68571" bIns="34286" numCol="1" anchor="t" anchorCtr="0" compatLnSpc="1">
            <a:prstTxWarp prst="textNoShape">
              <a:avLst/>
            </a:prstTxWarp>
          </a:bodyPr>
          <a:lstStyle/>
          <a:p>
            <a:pPr defTabSz="914134"/>
            <a:endParaRPr lang="en-US">
              <a:solidFill>
                <a:srgbClr val="292929"/>
              </a:solidFill>
            </a:endParaRPr>
          </a:p>
        </p:txBody>
      </p:sp>
    </p:spTree>
    <p:extLst>
      <p:ext uri="{BB962C8B-B14F-4D97-AF65-F5344CB8AC3E}">
        <p14:creationId xmlns:p14="http://schemas.microsoft.com/office/powerpoint/2010/main" val="1146619587"/>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04"/>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134"/>
              <a:endParaRPr lang="en-US" sz="1200">
                <a:solidFill>
                  <a:srgbClr val="292929"/>
                </a:solidFill>
              </a:endParaRPr>
            </a:p>
          </p:txBody>
        </p:sp>
      </p:grpSp>
    </p:spTree>
    <p:extLst>
      <p:ext uri="{BB962C8B-B14F-4D97-AF65-F5344CB8AC3E}">
        <p14:creationId xmlns:p14="http://schemas.microsoft.com/office/powerpoint/2010/main" val="385681706"/>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0" tIns="30860" rIns="61720" bIns="30860" numCol="1" anchor="t" anchorCtr="0" compatLnSpc="1">
            <a:prstTxWarp prst="textNoShape">
              <a:avLst/>
            </a:prstTxWarp>
          </a:bodyPr>
          <a:lstStyle/>
          <a:p>
            <a:pPr defTabSz="914134"/>
            <a:endParaRPr lang="en-US" sz="1200">
              <a:solidFill>
                <a:srgbClr val="292929"/>
              </a:solidFill>
            </a:endParaRPr>
          </a:p>
        </p:txBody>
      </p:sp>
    </p:spTree>
    <p:extLst>
      <p:ext uri="{BB962C8B-B14F-4D97-AF65-F5344CB8AC3E}">
        <p14:creationId xmlns:p14="http://schemas.microsoft.com/office/powerpoint/2010/main" val="80316521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10"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134"/>
              <a:endParaRPr lang="en-US">
                <a:solidFill>
                  <a:srgbClr val="292929"/>
                </a:solidFill>
              </a:endParaRPr>
            </a:p>
          </p:txBody>
        </p:sp>
      </p:grpSp>
    </p:spTree>
    <p:extLst>
      <p:ext uri="{BB962C8B-B14F-4D97-AF65-F5344CB8AC3E}">
        <p14:creationId xmlns:p14="http://schemas.microsoft.com/office/powerpoint/2010/main" val="101881843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2600759"/>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2"/>
            <a:ext cx="1880410" cy="218515"/>
          </a:xfrm>
          <a:prstGeom prst="rect">
            <a:avLst/>
          </a:prstGeom>
        </p:spPr>
      </p:pic>
    </p:spTree>
    <p:extLst>
      <p:ext uri="{BB962C8B-B14F-4D97-AF65-F5344CB8AC3E}">
        <p14:creationId xmlns:p14="http://schemas.microsoft.com/office/powerpoint/2010/main" val="2865021863"/>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55" indent="-255955">
              <a:lnSpc>
                <a:spcPct val="90000"/>
              </a:lnSpc>
              <a:buSzPct val="80000"/>
              <a:buFont typeface="Arial" pitchFamily="34" charset="0"/>
              <a:buChar char="•"/>
              <a:defRPr sz="2400"/>
            </a:lvl1pPr>
            <a:lvl2pPr marL="470242" indent="-214287">
              <a:lnSpc>
                <a:spcPct val="90000"/>
              </a:lnSpc>
              <a:buSzPct val="80000"/>
              <a:buFont typeface="Arial" pitchFamily="34" charset="0"/>
              <a:buChar char="•"/>
              <a:defRPr sz="2100"/>
            </a:lvl2pPr>
            <a:lvl3pPr marL="685720" indent="-215478">
              <a:lnSpc>
                <a:spcPct val="90000"/>
              </a:lnSpc>
              <a:buSzPct val="80000"/>
              <a:buFont typeface="Arial" pitchFamily="34" charset="0"/>
              <a:buChar char="•"/>
              <a:defRPr sz="1800"/>
            </a:lvl3pPr>
            <a:lvl4pPr marL="1284534" indent="-169049">
              <a:lnSpc>
                <a:spcPct val="90000"/>
              </a:lnSpc>
              <a:buSzPct val="80000"/>
              <a:buFont typeface="Arial" pitchFamily="34" charset="0"/>
              <a:buChar char="•"/>
              <a:defRPr sz="1500"/>
            </a:lvl4pPr>
            <a:lvl5pPr marL="1458344" indent="-173809">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56" indent="-34285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15" indent="-34285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388" indent="-257146">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632" indent="-257146">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681" indent="-257146">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55" lvl="0" indent="-255955" algn="l" defTabSz="685693" rtl="0" eaLnBrk="1" latinLnBrk="0" hangingPunct="1">
              <a:lnSpc>
                <a:spcPct val="90000"/>
              </a:lnSpc>
              <a:spcBef>
                <a:spcPct val="20000"/>
              </a:spcBef>
              <a:buSzPct val="80000"/>
              <a:buFont typeface="Arial" pitchFamily="34" charset="0"/>
              <a:buChar char="•"/>
            </a:pPr>
            <a:r>
              <a:rPr lang="en-US" smtClean="0"/>
              <a:t>Click to edit Master text styles</a:t>
            </a:r>
          </a:p>
          <a:p>
            <a:pPr marL="255955" lvl="1" indent="-255955" algn="l" defTabSz="685693" rtl="0" eaLnBrk="1" latinLnBrk="0" hangingPunct="1">
              <a:lnSpc>
                <a:spcPct val="90000"/>
              </a:lnSpc>
              <a:spcBef>
                <a:spcPct val="20000"/>
              </a:spcBef>
              <a:buSzPct val="80000"/>
              <a:buFont typeface="Arial" pitchFamily="34" charset="0"/>
              <a:buChar char="•"/>
            </a:pPr>
            <a:r>
              <a:rPr lang="en-US" smtClean="0"/>
              <a:t>Second level</a:t>
            </a:r>
          </a:p>
          <a:p>
            <a:pPr marL="255955" lvl="2" indent="-255955" algn="l" defTabSz="685693" rtl="0" eaLnBrk="1" latinLnBrk="0" hangingPunct="1">
              <a:lnSpc>
                <a:spcPct val="90000"/>
              </a:lnSpc>
              <a:spcBef>
                <a:spcPct val="20000"/>
              </a:spcBef>
              <a:buSzPct val="80000"/>
              <a:buFont typeface="Arial" pitchFamily="34" charset="0"/>
              <a:buChar char="•"/>
            </a:pPr>
            <a:r>
              <a:rPr lang="en-US" smtClean="0"/>
              <a:t>Third level</a:t>
            </a:r>
          </a:p>
          <a:p>
            <a:pPr marL="255955" lvl="3" indent="-255955" algn="l" defTabSz="685693" rtl="0" eaLnBrk="1" latinLnBrk="0" hangingPunct="1">
              <a:lnSpc>
                <a:spcPct val="90000"/>
              </a:lnSpc>
              <a:spcBef>
                <a:spcPct val="20000"/>
              </a:spcBef>
              <a:buSzPct val="80000"/>
              <a:buFont typeface="Arial" pitchFamily="34" charset="0"/>
              <a:buChar char="•"/>
            </a:pPr>
            <a:r>
              <a:rPr lang="en-US" smtClean="0"/>
              <a:t>Fourth level</a:t>
            </a:r>
          </a:p>
          <a:p>
            <a:pPr marL="255955" lvl="4" indent="-255955" algn="l" defTabSz="685693"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0" tIns="34280" rIns="68560" bIns="34280" numCol="1" anchor="t" anchorCtr="0" compatLnSpc="1">
            <a:prstTxWarp prst="textNoShape">
              <a:avLst/>
            </a:prstTxWarp>
            <a:spAutoFit/>
          </a:bodyPr>
          <a:lstStyle/>
          <a:p>
            <a:pPr algn="ctr" defTabSz="685495"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495"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3718817452"/>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56"/>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693"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4"/>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515846737"/>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8323452"/>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37" indent="-345237">
              <a:buClr>
                <a:srgbClr val="FFFFFF"/>
              </a:buClr>
              <a:buSzPct val="70000"/>
              <a:buFontTx/>
              <a:buBlip>
                <a:blip r:embed="rId2"/>
              </a:buBlip>
              <a:defRPr>
                <a:gradFill>
                  <a:gsLst>
                    <a:gs pos="0">
                      <a:srgbClr val="FFFFFF"/>
                    </a:gs>
                    <a:gs pos="86000">
                      <a:srgbClr val="FFFFFF"/>
                    </a:gs>
                  </a:gsLst>
                  <a:lin ang="5400000" scaled="0"/>
                </a:gradFill>
              </a:defRPr>
            </a:lvl1pPr>
            <a:lvl2pPr marL="641672" indent="-296434">
              <a:buClr>
                <a:srgbClr val="FFFFFF"/>
              </a:buClr>
              <a:buSzPct val="70000"/>
              <a:buFontTx/>
              <a:buBlip>
                <a:blip r:embed="rId2"/>
              </a:buBlip>
              <a:defRPr>
                <a:gradFill>
                  <a:gsLst>
                    <a:gs pos="0">
                      <a:srgbClr val="FFFFFF"/>
                    </a:gs>
                    <a:gs pos="86000">
                      <a:srgbClr val="FFFFFF"/>
                    </a:gs>
                  </a:gsLst>
                  <a:lin ang="5400000" scaled="0"/>
                </a:gradFill>
              </a:defRPr>
            </a:lvl2pPr>
            <a:lvl3pPr marL="944058" indent="-302386">
              <a:buClr>
                <a:srgbClr val="FFFFFF"/>
              </a:buClr>
              <a:buSzPct val="70000"/>
              <a:buFontTx/>
              <a:buBlip>
                <a:blip r:embed="rId2"/>
              </a:buBlip>
              <a:defRPr>
                <a:gradFill>
                  <a:gsLst>
                    <a:gs pos="0">
                      <a:srgbClr val="FFFFFF"/>
                    </a:gs>
                    <a:gs pos="86000">
                      <a:srgbClr val="FFFFFF"/>
                    </a:gs>
                  </a:gsLst>
                  <a:lin ang="5400000" scaled="0"/>
                </a:gradFill>
              </a:defRPr>
            </a:lvl3pPr>
            <a:lvl4pPr marL="1203577" indent="-259525">
              <a:buClr>
                <a:srgbClr val="FFFFFF"/>
              </a:buClr>
              <a:buSzPct val="70000"/>
              <a:buFontTx/>
              <a:buBlip>
                <a:blip r:embed="rId2"/>
              </a:buBlip>
              <a:defRPr>
                <a:gradFill>
                  <a:gsLst>
                    <a:gs pos="0">
                      <a:srgbClr val="FFFFFF"/>
                    </a:gs>
                    <a:gs pos="86000">
                      <a:srgbClr val="FFFFFF"/>
                    </a:gs>
                  </a:gsLst>
                  <a:lin ang="5400000" scaled="0"/>
                </a:gradFill>
              </a:defRPr>
            </a:lvl4pPr>
            <a:lvl5pPr marL="1455967" indent="-252383">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81" tIns="57137" rIns="114281" bIns="57137"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72672391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9"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60" y="3459279"/>
            <a:ext cx="4091815" cy="858697"/>
          </a:xfrm>
        </p:spPr>
        <p:txBody>
          <a:bodyPr/>
          <a:lstStyle>
            <a:lvl1pPr marL="0" indent="0">
              <a:buFont typeface="Arial" pitchFamily="34" charset="0"/>
              <a:buNone/>
              <a:defRPr sz="1800">
                <a:solidFill>
                  <a:schemeClr val="bg1">
                    <a:alpha val="98000"/>
                  </a:schemeClr>
                </a:solidFill>
                <a:latin typeface="+mj-lt"/>
              </a:defRPr>
            </a:lvl1pPr>
            <a:lvl2pPr marL="344983" indent="0">
              <a:buFont typeface="Arial" pitchFamily="34" charset="0"/>
              <a:buNone/>
              <a:defRPr/>
            </a:lvl2pPr>
            <a:lvl3pPr marL="641213" indent="0">
              <a:buFont typeface="Arial" pitchFamily="34" charset="0"/>
              <a:buNone/>
              <a:defRPr/>
            </a:lvl3pPr>
            <a:lvl4pPr marL="943395" indent="0">
              <a:buFont typeface="Arial" pitchFamily="34" charset="0"/>
              <a:buNone/>
              <a:defRPr/>
            </a:lvl4pPr>
            <a:lvl5pPr marL="12027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123747284"/>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395" indent="-3021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726" indent="-259338">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4942" indent="-252205">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510186767"/>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316" indent="-2569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6967" indent="-256967">
              <a:spcBef>
                <a:spcPts val="0"/>
              </a:spcBef>
              <a:spcAft>
                <a:spcPts val="300"/>
              </a:spcAft>
              <a:buFont typeface="Arial" pitchFamily="34" charset="0"/>
              <a:buChar char="•"/>
              <a:defRPr/>
            </a:lvl5pPr>
            <a:lvl6pPr marL="774458" indent="-256967">
              <a:buFont typeface="Arial" pitchFamily="34" charset="0"/>
              <a:buChar char="•"/>
              <a:defRPr sz="1800">
                <a:gradFill>
                  <a:gsLst>
                    <a:gs pos="0">
                      <a:srgbClr val="595959"/>
                    </a:gs>
                    <a:gs pos="86000">
                      <a:srgbClr val="595959"/>
                    </a:gs>
                  </a:gsLst>
                  <a:lin ang="5400000" scaled="0"/>
                </a:gradFill>
              </a:defRPr>
            </a:lvl6pPr>
            <a:lvl7pPr marL="941012" indent="-168930">
              <a:defRPr>
                <a:gradFill>
                  <a:gsLst>
                    <a:gs pos="0">
                      <a:srgbClr val="595959"/>
                    </a:gs>
                    <a:gs pos="86000">
                      <a:srgbClr val="595959"/>
                    </a:gs>
                  </a:gsLst>
                  <a:lin ang="5400000" scaled="0"/>
                </a:gradFill>
              </a:defRPr>
            </a:lvl7pPr>
            <a:lvl8pPr marL="1114696" indent="-173682">
              <a:defRPr>
                <a:gradFill>
                  <a:gsLst>
                    <a:gs pos="0">
                      <a:srgbClr val="595959"/>
                    </a:gs>
                    <a:gs pos="86000">
                      <a:srgbClr val="595959"/>
                    </a:gs>
                  </a:gsLst>
                  <a:lin ang="5400000" scaled="0"/>
                </a:gradFill>
              </a:defRPr>
            </a:lvl8pPr>
          </a:lstStyle>
          <a:p>
            <a:pPr marL="259338" lvl="0" indent="-259338" algn="l" defTabSz="685208" rtl="0" eaLnBrk="1" latinLnBrk="0" hangingPunct="1">
              <a:lnSpc>
                <a:spcPct val="90000"/>
              </a:lnSpc>
              <a:spcBef>
                <a:spcPct val="20000"/>
              </a:spcBef>
              <a:buSzPct val="90000"/>
              <a:buFont typeface="Arial" pitchFamily="34" charset="0"/>
              <a:buChar char="•"/>
            </a:pPr>
            <a:r>
              <a:rPr lang="en-US" smtClean="0"/>
              <a:t>Click to edit Master text styles</a:t>
            </a:r>
          </a:p>
          <a:p>
            <a:pPr marL="259338" lvl="1" indent="-259338" algn="l" defTabSz="685208" rtl="0" eaLnBrk="1" latinLnBrk="0" hangingPunct="1">
              <a:lnSpc>
                <a:spcPct val="90000"/>
              </a:lnSpc>
              <a:spcBef>
                <a:spcPct val="20000"/>
              </a:spcBef>
              <a:buSzPct val="90000"/>
              <a:buFont typeface="Arial" pitchFamily="34" charset="0"/>
              <a:buChar char="•"/>
            </a:pPr>
            <a:r>
              <a:rPr lang="en-US" smtClean="0"/>
              <a:t>Second level</a:t>
            </a:r>
          </a:p>
          <a:p>
            <a:pPr marL="259338" lvl="2" indent="-259338" algn="l" defTabSz="685208" rtl="0" eaLnBrk="1" latinLnBrk="0" hangingPunct="1">
              <a:lnSpc>
                <a:spcPct val="90000"/>
              </a:lnSpc>
              <a:spcBef>
                <a:spcPct val="20000"/>
              </a:spcBef>
              <a:buSzPct val="90000"/>
              <a:buFont typeface="Arial" pitchFamily="34" charset="0"/>
              <a:buChar char="•"/>
            </a:pPr>
            <a:r>
              <a:rPr lang="en-US" smtClean="0"/>
              <a:t>Third level</a:t>
            </a:r>
          </a:p>
          <a:p>
            <a:pPr marL="259338" lvl="3" indent="-259338" algn="l" defTabSz="685208" rtl="0" eaLnBrk="1" latinLnBrk="0" hangingPunct="1">
              <a:lnSpc>
                <a:spcPct val="90000"/>
              </a:lnSpc>
              <a:spcBef>
                <a:spcPct val="20000"/>
              </a:spcBef>
              <a:buSzPct val="90000"/>
              <a:buFont typeface="Arial" pitchFamily="34" charset="0"/>
              <a:buChar char="•"/>
            </a:pPr>
            <a:r>
              <a:rPr lang="en-US" smtClean="0"/>
              <a:t>Fourth level</a:t>
            </a:r>
          </a:p>
          <a:p>
            <a:pPr marL="259338" lvl="4" indent="-259338" algn="l" defTabSz="685208"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99785554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777" indent="-255777">
              <a:lnSpc>
                <a:spcPct val="90000"/>
              </a:lnSpc>
              <a:buSzPct val="80000"/>
              <a:buFont typeface="Arial" pitchFamily="34" charset="0"/>
              <a:buChar char="•"/>
              <a:defRPr sz="2400"/>
            </a:lvl1pPr>
            <a:lvl2pPr marL="469911" indent="-214134">
              <a:lnSpc>
                <a:spcPct val="90000"/>
              </a:lnSpc>
              <a:buSzPct val="80000"/>
              <a:buFont typeface="Arial" pitchFamily="34" charset="0"/>
              <a:buChar char="•"/>
              <a:defRPr sz="2100"/>
            </a:lvl2pPr>
            <a:lvl3pPr marL="685235" indent="-215325">
              <a:lnSpc>
                <a:spcPct val="90000"/>
              </a:lnSpc>
              <a:buSzPct val="80000"/>
              <a:buFont typeface="Arial" pitchFamily="34" charset="0"/>
              <a:buChar char="•"/>
              <a:defRPr sz="1800"/>
            </a:lvl3pPr>
            <a:lvl4pPr marL="1283616" indent="-168930">
              <a:lnSpc>
                <a:spcPct val="90000"/>
              </a:lnSpc>
              <a:buSzPct val="80000"/>
              <a:buFont typeface="Arial" pitchFamily="34" charset="0"/>
              <a:buChar char="•"/>
              <a:defRPr sz="1500"/>
            </a:lvl4pPr>
            <a:lvl5pPr marL="1457315" indent="-17368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01" indent="-34260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390" indent="-34260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878" indent="-2569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663" indent="-2569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587" indent="-2569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777" lvl="0" indent="-255777" algn="l" defTabSz="685208" rtl="0" eaLnBrk="1" latinLnBrk="0" hangingPunct="1">
              <a:lnSpc>
                <a:spcPct val="90000"/>
              </a:lnSpc>
              <a:spcBef>
                <a:spcPct val="20000"/>
              </a:spcBef>
              <a:buSzPct val="80000"/>
              <a:buFont typeface="Arial" pitchFamily="34" charset="0"/>
              <a:buChar char="•"/>
            </a:pPr>
            <a:r>
              <a:rPr lang="en-US" smtClean="0"/>
              <a:t>Click to edit Master text styles</a:t>
            </a:r>
          </a:p>
          <a:p>
            <a:pPr marL="255777" lvl="1" indent="-255777" algn="l" defTabSz="685208" rtl="0" eaLnBrk="1" latinLnBrk="0" hangingPunct="1">
              <a:lnSpc>
                <a:spcPct val="90000"/>
              </a:lnSpc>
              <a:spcBef>
                <a:spcPct val="20000"/>
              </a:spcBef>
              <a:buSzPct val="80000"/>
              <a:buFont typeface="Arial" pitchFamily="34" charset="0"/>
              <a:buChar char="•"/>
            </a:pPr>
            <a:r>
              <a:rPr lang="en-US" smtClean="0"/>
              <a:t>Second level</a:t>
            </a:r>
          </a:p>
          <a:p>
            <a:pPr marL="255777" lvl="2" indent="-255777" algn="l" defTabSz="685208" rtl="0" eaLnBrk="1" latinLnBrk="0" hangingPunct="1">
              <a:lnSpc>
                <a:spcPct val="90000"/>
              </a:lnSpc>
              <a:spcBef>
                <a:spcPct val="20000"/>
              </a:spcBef>
              <a:buSzPct val="80000"/>
              <a:buFont typeface="Arial" pitchFamily="34" charset="0"/>
              <a:buChar char="•"/>
            </a:pPr>
            <a:r>
              <a:rPr lang="en-US" smtClean="0"/>
              <a:t>Third level</a:t>
            </a:r>
          </a:p>
          <a:p>
            <a:pPr marL="255777" lvl="3" indent="-255777" algn="l" defTabSz="685208" rtl="0" eaLnBrk="1" latinLnBrk="0" hangingPunct="1">
              <a:lnSpc>
                <a:spcPct val="90000"/>
              </a:lnSpc>
              <a:spcBef>
                <a:spcPct val="20000"/>
              </a:spcBef>
              <a:buSzPct val="80000"/>
              <a:buFont typeface="Arial" pitchFamily="34" charset="0"/>
              <a:buChar char="•"/>
            </a:pPr>
            <a:r>
              <a:rPr lang="en-US" smtClean="0"/>
              <a:t>Fourth level</a:t>
            </a:r>
          </a:p>
          <a:p>
            <a:pPr marL="255777" lvl="4" indent="-255777" algn="l" defTabSz="685208"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2793443351"/>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182" indent="-302182">
              <a:buSzPct val="80000"/>
              <a:buFont typeface="Arial" pitchFamily="34" charset="0"/>
              <a:buChar char="•"/>
              <a:defRPr sz="2100"/>
            </a:lvl1pPr>
            <a:lvl2pPr marL="557927" indent="-241499">
              <a:buSzPct val="80000"/>
              <a:buFont typeface="Arial" pitchFamily="34" charset="0"/>
              <a:buChar char="•"/>
              <a:defRPr sz="2100"/>
            </a:lvl2pPr>
            <a:lvl3pPr marL="769701" indent="-211753" defTabSz="772069">
              <a:buSzPct val="80000"/>
              <a:buFont typeface="Arial" pitchFamily="34" charset="0"/>
              <a:buChar char="•"/>
              <a:defRPr sz="1800"/>
            </a:lvl3pPr>
            <a:lvl4pPr marL="987398" indent="-215325">
              <a:buSzPct val="80000"/>
              <a:buFont typeface="Arial" pitchFamily="34" charset="0"/>
              <a:buChar char="•"/>
              <a:defRPr sz="1500"/>
            </a:lvl4pPr>
            <a:lvl5pPr marL="1155146" indent="-167740">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73"/>
            <a:ext cx="4115872" cy="332399"/>
          </a:xfrm>
        </p:spPr>
        <p:txBody>
          <a:bodyPr anchor="b"/>
          <a:lstStyle>
            <a:lvl1pPr marL="0" indent="0">
              <a:lnSpc>
                <a:spcPct val="90000"/>
              </a:lnSpc>
              <a:spcBef>
                <a:spcPts val="0"/>
              </a:spcBef>
              <a:buNone/>
              <a:defRPr sz="2400" b="0">
                <a:latin typeface="Segoe UI Light" pitchFamily="34" charset="0"/>
              </a:defRPr>
            </a:lvl1pPr>
            <a:lvl2pPr marL="342589" indent="0">
              <a:buNone/>
              <a:defRPr sz="1500" b="1"/>
            </a:lvl2pPr>
            <a:lvl3pPr marL="685208" indent="0">
              <a:buNone/>
              <a:defRPr sz="1400" b="1"/>
            </a:lvl3pPr>
            <a:lvl4pPr marL="1027807" indent="0">
              <a:buNone/>
              <a:defRPr sz="1200" b="1"/>
            </a:lvl4pPr>
            <a:lvl5pPr marL="1370417" indent="0">
              <a:buNone/>
              <a:defRPr sz="1200" b="1"/>
            </a:lvl5pPr>
            <a:lvl6pPr marL="1713006" indent="0">
              <a:buNone/>
              <a:defRPr sz="1200" b="1"/>
            </a:lvl6pPr>
            <a:lvl7pPr marL="2055621" indent="0">
              <a:buNone/>
              <a:defRPr sz="1200" b="1"/>
            </a:lvl7pPr>
            <a:lvl8pPr marL="2398224" indent="0">
              <a:buNone/>
              <a:defRPr sz="1200" b="1"/>
            </a:lvl8pPr>
            <a:lvl9pPr marL="2740832"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63" indent="-222063">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01" indent="-34260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406" indent="-2569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039" indent="-2569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4905" indent="-2569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039" indent="-256967">
              <a:defRPr sz="1200"/>
            </a:lvl6pPr>
            <a:lvl7pPr marL="1201542" indent="-214134">
              <a:defRPr sz="1200"/>
            </a:lvl7pPr>
            <a:lvl8pPr>
              <a:defRPr sz="1200"/>
            </a:lvl8pPr>
            <a:lvl9pPr>
              <a:defRPr sz="1200"/>
            </a:lvl9pPr>
          </a:lstStyle>
          <a:p>
            <a:pPr marL="302182" lvl="0" indent="-302182" algn="l" defTabSz="685208" rtl="0" eaLnBrk="1" latinLnBrk="0" hangingPunct="1">
              <a:lnSpc>
                <a:spcPct val="90000"/>
              </a:lnSpc>
              <a:spcBef>
                <a:spcPct val="20000"/>
              </a:spcBef>
              <a:buSzPct val="80000"/>
            </a:pPr>
            <a:r>
              <a:rPr lang="en-US" smtClean="0"/>
              <a:t>Click to edit Master text styles</a:t>
            </a:r>
          </a:p>
          <a:p>
            <a:pPr marL="302182" lvl="1" indent="-302182" algn="l" defTabSz="685208" rtl="0" eaLnBrk="1" latinLnBrk="0" hangingPunct="1">
              <a:lnSpc>
                <a:spcPct val="90000"/>
              </a:lnSpc>
              <a:spcBef>
                <a:spcPct val="20000"/>
              </a:spcBef>
              <a:buSzPct val="80000"/>
            </a:pPr>
            <a:r>
              <a:rPr lang="en-US" smtClean="0"/>
              <a:t>Second level</a:t>
            </a:r>
          </a:p>
          <a:p>
            <a:pPr marL="302182" lvl="2" indent="-302182" algn="l" defTabSz="685208" rtl="0" eaLnBrk="1" latinLnBrk="0" hangingPunct="1">
              <a:lnSpc>
                <a:spcPct val="90000"/>
              </a:lnSpc>
              <a:spcBef>
                <a:spcPct val="20000"/>
              </a:spcBef>
              <a:buSzPct val="80000"/>
            </a:pPr>
            <a:r>
              <a:rPr lang="en-US" smtClean="0"/>
              <a:t>Third level</a:t>
            </a:r>
          </a:p>
          <a:p>
            <a:pPr marL="302182" lvl="3" indent="-302182" algn="l" defTabSz="685208" rtl="0" eaLnBrk="1" latinLnBrk="0" hangingPunct="1">
              <a:lnSpc>
                <a:spcPct val="90000"/>
              </a:lnSpc>
              <a:spcBef>
                <a:spcPct val="20000"/>
              </a:spcBef>
              <a:buSzPct val="80000"/>
            </a:pPr>
            <a:r>
              <a:rPr lang="en-US" smtClean="0"/>
              <a:t>Fourth level</a:t>
            </a:r>
          </a:p>
          <a:p>
            <a:pPr marL="302182" lvl="4" indent="-302182" algn="l" defTabSz="685208"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3963672584"/>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170604775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386" indent="-302386">
              <a:buSzPct val="80000"/>
              <a:buFont typeface="Arial" pitchFamily="34" charset="0"/>
              <a:buChar char="•"/>
              <a:defRPr sz="2100"/>
            </a:lvl1pPr>
            <a:lvl2pPr marL="558335" indent="-241669">
              <a:buSzPct val="80000"/>
              <a:buFont typeface="Arial" pitchFamily="34" charset="0"/>
              <a:buChar char="•"/>
              <a:defRPr sz="2100"/>
            </a:lvl2pPr>
            <a:lvl3pPr marL="770245" indent="-211906" defTabSz="772627">
              <a:buSzPct val="80000"/>
              <a:buFont typeface="Arial" pitchFamily="34" charset="0"/>
              <a:buChar char="•"/>
              <a:defRPr sz="1800"/>
            </a:lvl3pPr>
            <a:lvl4pPr marL="988101" indent="-215478">
              <a:buSzPct val="80000"/>
              <a:buFont typeface="Arial" pitchFamily="34" charset="0"/>
              <a:buChar char="•"/>
              <a:defRPr sz="1500"/>
            </a:lvl4pPr>
            <a:lvl5pPr marL="1155963" indent="-167859">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6"/>
            <a:ext cx="4115872" cy="332399"/>
          </a:xfrm>
        </p:spPr>
        <p:txBody>
          <a:bodyPr anchor="b"/>
          <a:lstStyle>
            <a:lvl1pPr marL="0" indent="0">
              <a:lnSpc>
                <a:spcPct val="90000"/>
              </a:lnSpc>
              <a:spcBef>
                <a:spcPts val="0"/>
              </a:spcBef>
              <a:buNone/>
              <a:defRPr sz="2400" b="0">
                <a:latin typeface="Segoe UI Light" pitchFamily="34" charset="0"/>
              </a:defRPr>
            </a:lvl1pPr>
            <a:lvl2pPr marL="342844" indent="0">
              <a:buNone/>
              <a:defRPr sz="1500" b="1"/>
            </a:lvl2pPr>
            <a:lvl3pPr marL="685693" indent="0">
              <a:buNone/>
              <a:defRPr sz="1400" b="1"/>
            </a:lvl3pPr>
            <a:lvl4pPr marL="1028538" indent="0">
              <a:buNone/>
              <a:defRPr sz="1200" b="1"/>
            </a:lvl4pPr>
            <a:lvl5pPr marL="1371386" indent="0">
              <a:buNone/>
              <a:defRPr sz="1200" b="1"/>
            </a:lvl5pPr>
            <a:lvl6pPr marL="1714228" indent="0">
              <a:buNone/>
              <a:defRPr sz="1200" b="1"/>
            </a:lvl6pPr>
            <a:lvl7pPr marL="2057078" indent="0">
              <a:buNone/>
              <a:defRPr sz="1200" b="1"/>
            </a:lvl7pPr>
            <a:lvl8pPr marL="2399924" indent="0">
              <a:buNone/>
              <a:defRPr sz="1200" b="1"/>
            </a:lvl8pPr>
            <a:lvl9pPr marL="2742771"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16" indent="-22221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56" indent="-34285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14" indent="-257146">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770" indent="-257146">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483" indent="-257146">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770" indent="-257146">
              <a:defRPr sz="1200"/>
            </a:lvl6pPr>
            <a:lvl7pPr marL="1202392" indent="-214287">
              <a:defRPr sz="1200"/>
            </a:lvl7pPr>
            <a:lvl8pPr>
              <a:defRPr sz="1200"/>
            </a:lvl8pPr>
            <a:lvl9pPr>
              <a:defRPr sz="1200"/>
            </a:lvl9pPr>
          </a:lstStyle>
          <a:p>
            <a:pPr marL="302386" lvl="0" indent="-302386" algn="l" defTabSz="685693" rtl="0" eaLnBrk="1" latinLnBrk="0" hangingPunct="1">
              <a:lnSpc>
                <a:spcPct val="90000"/>
              </a:lnSpc>
              <a:spcBef>
                <a:spcPct val="20000"/>
              </a:spcBef>
              <a:buSzPct val="80000"/>
            </a:pPr>
            <a:r>
              <a:rPr lang="en-US" smtClean="0"/>
              <a:t>Click to edit Master text styles</a:t>
            </a:r>
          </a:p>
          <a:p>
            <a:pPr marL="302386" lvl="1" indent="-302386" algn="l" defTabSz="685693" rtl="0" eaLnBrk="1" latinLnBrk="0" hangingPunct="1">
              <a:lnSpc>
                <a:spcPct val="90000"/>
              </a:lnSpc>
              <a:spcBef>
                <a:spcPct val="20000"/>
              </a:spcBef>
              <a:buSzPct val="80000"/>
            </a:pPr>
            <a:r>
              <a:rPr lang="en-US" smtClean="0"/>
              <a:t>Second level</a:t>
            </a:r>
          </a:p>
          <a:p>
            <a:pPr marL="302386" lvl="2" indent="-302386" algn="l" defTabSz="685693" rtl="0" eaLnBrk="1" latinLnBrk="0" hangingPunct="1">
              <a:lnSpc>
                <a:spcPct val="90000"/>
              </a:lnSpc>
              <a:spcBef>
                <a:spcPct val="20000"/>
              </a:spcBef>
              <a:buSzPct val="80000"/>
            </a:pPr>
            <a:r>
              <a:rPr lang="en-US" smtClean="0"/>
              <a:t>Third level</a:t>
            </a:r>
          </a:p>
          <a:p>
            <a:pPr marL="302386" lvl="3" indent="-302386" algn="l" defTabSz="685693" rtl="0" eaLnBrk="1" latinLnBrk="0" hangingPunct="1">
              <a:lnSpc>
                <a:spcPct val="90000"/>
              </a:lnSpc>
              <a:spcBef>
                <a:spcPct val="20000"/>
              </a:spcBef>
              <a:buSzPct val="80000"/>
            </a:pPr>
            <a:r>
              <a:rPr lang="en-US" smtClean="0"/>
              <a:t>Fourth level</a:t>
            </a:r>
          </a:p>
          <a:p>
            <a:pPr marL="302386" lvl="4" indent="-302386" algn="l" defTabSz="685693"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6" y="4779411"/>
            <a:ext cx="1261769" cy="146626"/>
          </a:xfrm>
          <a:prstGeom prst="rect">
            <a:avLst/>
          </a:prstGeom>
        </p:spPr>
      </p:pic>
    </p:spTree>
    <p:extLst>
      <p:ext uri="{BB962C8B-B14F-4D97-AF65-F5344CB8AC3E}">
        <p14:creationId xmlns:p14="http://schemas.microsoft.com/office/powerpoint/2010/main" val="64078238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493" tIns="34247" rIns="68493" bIns="34247" numCol="1" spcCol="0" rtlCol="0" anchor="ctr" anchorCtr="0" compatLnSpc="1">
            <a:prstTxWarp prst="textNoShape">
              <a:avLst/>
            </a:prstTxWarp>
          </a:bodyPr>
          <a:lstStyle/>
          <a:p>
            <a:pPr algn="ctr" defTabSz="68477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208"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40" tIns="137040" anchor="ctr" anchorCtr="0"/>
          <a:lstStyle>
            <a:lvl1pPr marL="430650" indent="-428268">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38" indent="-2569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208" rtl="0" eaLnBrk="1" latinLnBrk="0" hangingPunct="1">
              <a:lnSpc>
                <a:spcPct val="90000"/>
              </a:lnSpc>
              <a:spcBef>
                <a:spcPts val="0"/>
              </a:spcBef>
              <a:spcAft>
                <a:spcPts val="675"/>
              </a:spcAft>
              <a:buSzPct val="80000"/>
            </a:pPr>
            <a:r>
              <a:rPr lang="en-US" smtClean="0"/>
              <a:t>Click to edit Master text styles</a:t>
            </a:r>
          </a:p>
          <a:p>
            <a:pPr marL="2382" lvl="1" indent="0" algn="l" defTabSz="685208"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69" tIns="30834" rIns="61669" bIns="30834" numCol="1" anchor="t" anchorCtr="0" compatLnSpc="1">
            <a:prstTxWarp prst="textNoShape">
              <a:avLst/>
            </a:prstTxWarp>
          </a:bodyPr>
          <a:lstStyle/>
          <a:p>
            <a:pPr defTabSz="913488"/>
            <a:endParaRPr lang="en-US" sz="1200">
              <a:solidFill>
                <a:srgbClr val="292929"/>
              </a:solidFill>
            </a:endParaRPr>
          </a:p>
        </p:txBody>
      </p:sp>
    </p:spTree>
    <p:extLst>
      <p:ext uri="{BB962C8B-B14F-4D97-AF65-F5344CB8AC3E}">
        <p14:creationId xmlns:p14="http://schemas.microsoft.com/office/powerpoint/2010/main" val="428477864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1917033971"/>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8"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20" tIns="34261" rIns="68520" bIns="34261" numCol="1" anchor="t" anchorCtr="0" compatLnSpc="1">
            <a:prstTxWarp prst="textNoShape">
              <a:avLst/>
            </a:prstTxWarp>
          </a:bodyPr>
          <a:lstStyle/>
          <a:p>
            <a:pPr defTabSz="685208"/>
            <a:endParaRPr lang="en-US" sz="1400">
              <a:solidFill>
                <a:srgbClr val="292929"/>
              </a:solidFill>
            </a:endParaRPr>
          </a:p>
        </p:txBody>
      </p:sp>
    </p:spTree>
    <p:extLst>
      <p:ext uri="{BB962C8B-B14F-4D97-AF65-F5344CB8AC3E}">
        <p14:creationId xmlns:p14="http://schemas.microsoft.com/office/powerpoint/2010/main" val="323369015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21"/>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208"/>
              <a:endParaRPr lang="en-US" sz="1200">
                <a:solidFill>
                  <a:srgbClr val="292929"/>
                </a:solidFill>
              </a:endParaRPr>
            </a:p>
          </p:txBody>
        </p:sp>
      </p:grpSp>
    </p:spTree>
    <p:extLst>
      <p:ext uri="{BB962C8B-B14F-4D97-AF65-F5344CB8AC3E}">
        <p14:creationId xmlns:p14="http://schemas.microsoft.com/office/powerpoint/2010/main" val="3098125728"/>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69" tIns="30834" rIns="61669" bIns="30834" numCol="1" anchor="t" anchorCtr="0" compatLnSpc="1">
            <a:prstTxWarp prst="textNoShape">
              <a:avLst/>
            </a:prstTxWarp>
          </a:bodyPr>
          <a:lstStyle/>
          <a:p>
            <a:pPr defTabSz="685208"/>
            <a:endParaRPr lang="en-US" sz="1200">
              <a:solidFill>
                <a:srgbClr val="292929"/>
              </a:solidFill>
            </a:endParaRPr>
          </a:p>
        </p:txBody>
      </p:sp>
    </p:spTree>
    <p:extLst>
      <p:ext uri="{BB962C8B-B14F-4D97-AF65-F5344CB8AC3E}">
        <p14:creationId xmlns:p14="http://schemas.microsoft.com/office/powerpoint/2010/main" val="158366465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73"/>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7"/>
            <a:ext cx="3154788" cy="346249"/>
          </a:xfrm>
        </p:spPr>
        <p:txBody>
          <a:bodyPr>
            <a:noAutofit/>
          </a:bodyPr>
          <a:lstStyle>
            <a:lvl1pPr marL="0" indent="0" algn="l" defTabSz="685208"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589" indent="0" algn="ctr">
              <a:buNone/>
              <a:defRPr>
                <a:solidFill>
                  <a:schemeClr val="tx1">
                    <a:tint val="75000"/>
                  </a:schemeClr>
                </a:solidFill>
              </a:defRPr>
            </a:lvl2pPr>
            <a:lvl3pPr marL="685208" indent="0" algn="ctr">
              <a:buNone/>
              <a:defRPr>
                <a:solidFill>
                  <a:schemeClr val="tx1">
                    <a:tint val="75000"/>
                  </a:schemeClr>
                </a:solidFill>
              </a:defRPr>
            </a:lvl3pPr>
            <a:lvl4pPr marL="1027807" indent="0" algn="ctr">
              <a:buNone/>
              <a:defRPr>
                <a:solidFill>
                  <a:schemeClr val="tx1">
                    <a:tint val="75000"/>
                  </a:schemeClr>
                </a:solidFill>
              </a:defRPr>
            </a:lvl4pPr>
            <a:lvl5pPr marL="1370417" indent="0" algn="ctr">
              <a:buNone/>
              <a:defRPr>
                <a:solidFill>
                  <a:schemeClr val="tx1">
                    <a:tint val="75000"/>
                  </a:schemeClr>
                </a:solidFill>
              </a:defRPr>
            </a:lvl5pPr>
            <a:lvl6pPr marL="1713006" indent="0" algn="ctr">
              <a:buNone/>
              <a:defRPr>
                <a:solidFill>
                  <a:schemeClr val="tx1">
                    <a:tint val="75000"/>
                  </a:schemeClr>
                </a:solidFill>
              </a:defRPr>
            </a:lvl6pPr>
            <a:lvl7pPr marL="2055621" indent="0" algn="ctr">
              <a:buNone/>
              <a:defRPr>
                <a:solidFill>
                  <a:schemeClr val="tx1">
                    <a:tint val="75000"/>
                  </a:schemeClr>
                </a:solidFill>
              </a:defRPr>
            </a:lvl7pPr>
            <a:lvl8pPr marL="2398224" indent="0" algn="ctr">
              <a:buNone/>
              <a:defRPr>
                <a:solidFill>
                  <a:schemeClr val="tx1">
                    <a:tint val="75000"/>
                  </a:schemeClr>
                </a:solidFill>
              </a:defRPr>
            </a:lvl8pPr>
            <a:lvl9pPr marL="2740832"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7"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208"/>
              <a:endParaRPr lang="en-US" sz="1400">
                <a:solidFill>
                  <a:srgbClr val="292929"/>
                </a:solidFill>
              </a:endParaRPr>
            </a:p>
          </p:txBody>
        </p:sp>
      </p:grpSp>
    </p:spTree>
    <p:extLst>
      <p:ext uri="{BB962C8B-B14F-4D97-AF65-F5344CB8AC3E}">
        <p14:creationId xmlns:p14="http://schemas.microsoft.com/office/powerpoint/2010/main" val="3151791744"/>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9"/>
            <a:ext cx="1880410" cy="218515"/>
          </a:xfrm>
          <a:prstGeom prst="rect">
            <a:avLst/>
          </a:prstGeom>
        </p:spPr>
      </p:pic>
    </p:spTree>
    <p:extLst>
      <p:ext uri="{BB962C8B-B14F-4D97-AF65-F5344CB8AC3E}">
        <p14:creationId xmlns:p14="http://schemas.microsoft.com/office/powerpoint/2010/main" val="472319004"/>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09" tIns="34255" rIns="68509" bIns="34255" numCol="1" anchor="t" anchorCtr="0" compatLnSpc="1">
            <a:prstTxWarp prst="textNoShape">
              <a:avLst/>
            </a:prstTxWarp>
            <a:spAutoFit/>
          </a:bodyPr>
          <a:lstStyle/>
          <a:p>
            <a:pPr algn="ctr" defTabSz="685010"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010"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597407455"/>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384673" y="3257573"/>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208"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userDrawn="1"/>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511"/>
            <a:ext cx="1197051" cy="201275"/>
          </a:xfrm>
          <a:prstGeom prst="rect">
            <a:avLst/>
          </a:prstGeom>
          <a:noFill/>
          <a:ln>
            <a:noFill/>
          </a:ln>
        </p:spPr>
      </p:pic>
      <p:pic>
        <p:nvPicPr>
          <p:cNvPr id="7" name="Picture 6"/>
          <p:cNvPicPr>
            <a:picLocks noChangeAspect="1"/>
          </p:cNvPicPr>
          <p:nvPr userDrawn="1"/>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49213331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21779432"/>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4983" indent="-344983">
              <a:buClr>
                <a:srgbClr val="FFFFFF"/>
              </a:buClr>
              <a:buSzPct val="70000"/>
              <a:buFontTx/>
              <a:buBlip>
                <a:blip r:embed="rId2"/>
              </a:buBlip>
              <a:defRPr>
                <a:gradFill>
                  <a:gsLst>
                    <a:gs pos="0">
                      <a:srgbClr val="FFFFFF"/>
                    </a:gs>
                    <a:gs pos="86000">
                      <a:srgbClr val="FFFFFF"/>
                    </a:gs>
                  </a:gsLst>
                  <a:lin ang="5400000" scaled="0"/>
                </a:gradFill>
              </a:defRPr>
            </a:lvl1pPr>
            <a:lvl2pPr marL="641213" indent="-296229">
              <a:buClr>
                <a:srgbClr val="FFFFFF"/>
              </a:buClr>
              <a:buSzPct val="70000"/>
              <a:buFontTx/>
              <a:buBlip>
                <a:blip r:embed="rId2"/>
              </a:buBlip>
              <a:defRPr>
                <a:gradFill>
                  <a:gsLst>
                    <a:gs pos="0">
                      <a:srgbClr val="FFFFFF"/>
                    </a:gs>
                    <a:gs pos="86000">
                      <a:srgbClr val="FFFFFF"/>
                    </a:gs>
                  </a:gsLst>
                  <a:lin ang="5400000" scaled="0"/>
                </a:gradFill>
              </a:defRPr>
            </a:lvl2pPr>
            <a:lvl3pPr marL="943395" indent="-302182">
              <a:buClr>
                <a:srgbClr val="FFFFFF"/>
              </a:buClr>
              <a:buSzPct val="70000"/>
              <a:buFontTx/>
              <a:buBlip>
                <a:blip r:embed="rId2"/>
              </a:buBlip>
              <a:defRPr>
                <a:gradFill>
                  <a:gsLst>
                    <a:gs pos="0">
                      <a:srgbClr val="FFFFFF"/>
                    </a:gs>
                    <a:gs pos="86000">
                      <a:srgbClr val="FFFFFF"/>
                    </a:gs>
                  </a:gsLst>
                  <a:lin ang="5400000" scaled="0"/>
                </a:gradFill>
              </a:defRPr>
            </a:lvl3pPr>
            <a:lvl4pPr marL="1202726" indent="-259338">
              <a:buClr>
                <a:srgbClr val="FFFFFF"/>
              </a:buClr>
              <a:buSzPct val="70000"/>
              <a:buFontTx/>
              <a:buBlip>
                <a:blip r:embed="rId2"/>
              </a:buBlip>
              <a:defRPr>
                <a:gradFill>
                  <a:gsLst>
                    <a:gs pos="0">
                      <a:srgbClr val="FFFFFF"/>
                    </a:gs>
                    <a:gs pos="86000">
                      <a:srgbClr val="FFFFFF"/>
                    </a:gs>
                  </a:gsLst>
                  <a:lin ang="5400000" scaled="0"/>
                </a:gradFill>
              </a:defRPr>
            </a:lvl4pPr>
            <a:lvl5pPr marL="1454942" indent="-252205">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196" tIns="57086" rIns="114196" bIns="57086"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670412431"/>
      </p:ext>
    </p:extLst>
  </p:cSld>
  <p:clrMapOvr>
    <a:masterClrMapping/>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40"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41" y="3459260"/>
            <a:ext cx="4091815" cy="858697"/>
          </a:xfrm>
        </p:spPr>
        <p:txBody>
          <a:bodyPr/>
          <a:lstStyle>
            <a:lvl1pPr marL="0" indent="0">
              <a:buFont typeface="Arial" pitchFamily="34" charset="0"/>
              <a:buNone/>
              <a:defRPr sz="1800">
                <a:solidFill>
                  <a:schemeClr val="bg1">
                    <a:alpha val="98000"/>
                  </a:schemeClr>
                </a:solidFill>
                <a:latin typeface="+mj-lt"/>
              </a:defRPr>
            </a:lvl1pPr>
            <a:lvl2pPr marL="345267" indent="0">
              <a:buFont typeface="Arial" pitchFamily="34" charset="0"/>
              <a:buNone/>
              <a:defRPr/>
            </a:lvl2pPr>
            <a:lvl3pPr marL="641726" indent="0">
              <a:buFont typeface="Arial" pitchFamily="34" charset="0"/>
              <a:buNone/>
              <a:defRPr/>
            </a:lvl3pPr>
            <a:lvl4pPr marL="944136" indent="0">
              <a:buFont typeface="Arial" pitchFamily="34" charset="0"/>
              <a:buNone/>
              <a:defRPr/>
            </a:lvl4pPr>
            <a:lvl5pPr marL="1203679"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1699034377"/>
      </p:ext>
    </p:extLst>
  </p:cSld>
  <p:clrMapOvr>
    <a:masterClrMapping/>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4136" indent="-30241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3679" indent="-2595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6087" indent="-252404">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483516019"/>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715" indent="-257167">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167" indent="-257167">
              <a:spcBef>
                <a:spcPts val="0"/>
              </a:spcBef>
              <a:spcAft>
                <a:spcPts val="300"/>
              </a:spcAft>
              <a:buFont typeface="Arial" pitchFamily="34" charset="0"/>
              <a:buChar char="•"/>
              <a:defRPr/>
            </a:lvl5pPr>
            <a:lvl6pPr marL="775069" indent="-257167">
              <a:buFont typeface="Arial" pitchFamily="34" charset="0"/>
              <a:buChar char="•"/>
              <a:defRPr sz="1800">
                <a:gradFill>
                  <a:gsLst>
                    <a:gs pos="0">
                      <a:srgbClr val="595959"/>
                    </a:gs>
                    <a:gs pos="86000">
                      <a:srgbClr val="595959"/>
                    </a:gs>
                  </a:gsLst>
                  <a:lin ang="5400000" scaled="0"/>
                </a:gradFill>
              </a:defRPr>
            </a:lvl6pPr>
            <a:lvl7pPr marL="941754" indent="-169063">
              <a:defRPr>
                <a:gradFill>
                  <a:gsLst>
                    <a:gs pos="0">
                      <a:srgbClr val="595959"/>
                    </a:gs>
                    <a:gs pos="86000">
                      <a:srgbClr val="595959"/>
                    </a:gs>
                  </a:gsLst>
                  <a:lin ang="5400000" scaled="0"/>
                </a:gradFill>
              </a:defRPr>
            </a:lvl7pPr>
            <a:lvl8pPr marL="1115579" indent="-173824">
              <a:defRPr>
                <a:gradFill>
                  <a:gsLst>
                    <a:gs pos="0">
                      <a:srgbClr val="595959"/>
                    </a:gs>
                    <a:gs pos="86000">
                      <a:srgbClr val="595959"/>
                    </a:gs>
                  </a:gsLst>
                  <a:lin ang="5400000" scaled="0"/>
                </a:gradFill>
              </a:defRPr>
            </a:lvl8pPr>
          </a:lstStyle>
          <a:p>
            <a:pPr marL="259547" lvl="0" indent="-259547" algn="l" defTabSz="685750" rtl="0" eaLnBrk="1" latinLnBrk="0" hangingPunct="1">
              <a:lnSpc>
                <a:spcPct val="90000"/>
              </a:lnSpc>
              <a:spcBef>
                <a:spcPct val="20000"/>
              </a:spcBef>
              <a:buSzPct val="90000"/>
              <a:buFont typeface="Arial" pitchFamily="34" charset="0"/>
              <a:buChar char="•"/>
            </a:pPr>
            <a:r>
              <a:rPr lang="en-US" smtClean="0"/>
              <a:t>Click to edit Master text styles</a:t>
            </a:r>
          </a:p>
          <a:p>
            <a:pPr marL="259547" lvl="1" indent="-259547" algn="l" defTabSz="685750" rtl="0" eaLnBrk="1" latinLnBrk="0" hangingPunct="1">
              <a:lnSpc>
                <a:spcPct val="90000"/>
              </a:lnSpc>
              <a:spcBef>
                <a:spcPct val="20000"/>
              </a:spcBef>
              <a:buSzPct val="90000"/>
              <a:buFont typeface="Arial" pitchFamily="34" charset="0"/>
              <a:buChar char="•"/>
            </a:pPr>
            <a:r>
              <a:rPr lang="en-US" smtClean="0"/>
              <a:t>Second level</a:t>
            </a:r>
          </a:p>
          <a:p>
            <a:pPr marL="259547" lvl="2" indent="-259547" algn="l" defTabSz="685750" rtl="0" eaLnBrk="1" latinLnBrk="0" hangingPunct="1">
              <a:lnSpc>
                <a:spcPct val="90000"/>
              </a:lnSpc>
              <a:spcBef>
                <a:spcPct val="20000"/>
              </a:spcBef>
              <a:buSzPct val="90000"/>
              <a:buFont typeface="Arial" pitchFamily="34" charset="0"/>
              <a:buChar char="•"/>
            </a:pPr>
            <a:r>
              <a:rPr lang="en-US" smtClean="0"/>
              <a:t>Third level</a:t>
            </a:r>
          </a:p>
          <a:p>
            <a:pPr marL="259547" lvl="3" indent="-259547" algn="l" defTabSz="685750" rtl="0" eaLnBrk="1" latinLnBrk="0" hangingPunct="1">
              <a:lnSpc>
                <a:spcPct val="90000"/>
              </a:lnSpc>
              <a:spcBef>
                <a:spcPct val="20000"/>
              </a:spcBef>
              <a:buSzPct val="90000"/>
              <a:buFont typeface="Arial" pitchFamily="34" charset="0"/>
              <a:buChar char="•"/>
            </a:pPr>
            <a:r>
              <a:rPr lang="en-US" smtClean="0"/>
              <a:t>Fourth level</a:t>
            </a:r>
          </a:p>
          <a:p>
            <a:pPr marL="259547" lvl="4" indent="-259547" algn="l" defTabSz="685750"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1476219378"/>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976" indent="-255976">
              <a:lnSpc>
                <a:spcPct val="90000"/>
              </a:lnSpc>
              <a:buSzPct val="80000"/>
              <a:buFont typeface="Arial" pitchFamily="34" charset="0"/>
              <a:buChar char="•"/>
              <a:defRPr sz="2400"/>
            </a:lvl1pPr>
            <a:lvl2pPr marL="470281" indent="-214305">
              <a:lnSpc>
                <a:spcPct val="90000"/>
              </a:lnSpc>
              <a:buSzPct val="80000"/>
              <a:buFont typeface="Arial" pitchFamily="34" charset="0"/>
              <a:buChar char="•"/>
              <a:defRPr sz="2100"/>
            </a:lvl2pPr>
            <a:lvl3pPr marL="685777" indent="-215496">
              <a:lnSpc>
                <a:spcPct val="90000"/>
              </a:lnSpc>
              <a:buSzPct val="80000"/>
              <a:buFont typeface="Arial" pitchFamily="34" charset="0"/>
              <a:buChar char="•"/>
              <a:defRPr sz="1800"/>
            </a:lvl3pPr>
            <a:lvl4pPr marL="1284642" indent="-169063">
              <a:lnSpc>
                <a:spcPct val="90000"/>
              </a:lnSpc>
              <a:buSzPct val="80000"/>
              <a:buFont typeface="Arial" pitchFamily="34" charset="0"/>
              <a:buChar char="•"/>
              <a:defRPr sz="1500"/>
            </a:lvl4pPr>
            <a:lvl5pPr marL="1458466" indent="-173824">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886" indent="-342886">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865" indent="-342886">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7448" indent="-257167">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2746" indent="-257167">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1809" indent="-257167">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976" lvl="0" indent="-255976" algn="l" defTabSz="685750" rtl="0" eaLnBrk="1" latinLnBrk="0" hangingPunct="1">
              <a:lnSpc>
                <a:spcPct val="90000"/>
              </a:lnSpc>
              <a:spcBef>
                <a:spcPct val="20000"/>
              </a:spcBef>
              <a:buSzPct val="80000"/>
              <a:buFont typeface="Arial" pitchFamily="34" charset="0"/>
              <a:buChar char="•"/>
            </a:pPr>
            <a:r>
              <a:rPr lang="en-US" smtClean="0"/>
              <a:t>Click to edit Master text styles</a:t>
            </a:r>
          </a:p>
          <a:p>
            <a:pPr marL="255976" lvl="1" indent="-255976" algn="l" defTabSz="685750" rtl="0" eaLnBrk="1" latinLnBrk="0" hangingPunct="1">
              <a:lnSpc>
                <a:spcPct val="90000"/>
              </a:lnSpc>
              <a:spcBef>
                <a:spcPct val="20000"/>
              </a:spcBef>
              <a:buSzPct val="80000"/>
              <a:buFont typeface="Arial" pitchFamily="34" charset="0"/>
              <a:buChar char="•"/>
            </a:pPr>
            <a:r>
              <a:rPr lang="en-US" smtClean="0"/>
              <a:t>Second level</a:t>
            </a:r>
          </a:p>
          <a:p>
            <a:pPr marL="255976" lvl="2" indent="-255976" algn="l" defTabSz="685750" rtl="0" eaLnBrk="1" latinLnBrk="0" hangingPunct="1">
              <a:lnSpc>
                <a:spcPct val="90000"/>
              </a:lnSpc>
              <a:spcBef>
                <a:spcPct val="20000"/>
              </a:spcBef>
              <a:buSzPct val="80000"/>
              <a:buFont typeface="Arial" pitchFamily="34" charset="0"/>
              <a:buChar char="•"/>
            </a:pPr>
            <a:r>
              <a:rPr lang="en-US" smtClean="0"/>
              <a:t>Third level</a:t>
            </a:r>
          </a:p>
          <a:p>
            <a:pPr marL="255976" lvl="3" indent="-255976" algn="l" defTabSz="685750" rtl="0" eaLnBrk="1" latinLnBrk="0" hangingPunct="1">
              <a:lnSpc>
                <a:spcPct val="90000"/>
              </a:lnSpc>
              <a:spcBef>
                <a:spcPct val="20000"/>
              </a:spcBef>
              <a:buSzPct val="80000"/>
              <a:buFont typeface="Arial" pitchFamily="34" charset="0"/>
              <a:buChar char="•"/>
            </a:pPr>
            <a:r>
              <a:rPr lang="en-US" smtClean="0"/>
              <a:t>Fourth level</a:t>
            </a:r>
          </a:p>
          <a:p>
            <a:pPr marL="255976" lvl="4" indent="-255976" algn="l" defTabSz="685750"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4276107123"/>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410" indent="-302410">
              <a:buSzPct val="80000"/>
              <a:buFont typeface="Arial" pitchFamily="34" charset="0"/>
              <a:buChar char="•"/>
              <a:defRPr sz="2100"/>
            </a:lvl1pPr>
            <a:lvl2pPr marL="558383" indent="-241689">
              <a:buSzPct val="80000"/>
              <a:buFont typeface="Arial" pitchFamily="34" charset="0"/>
              <a:buChar char="•"/>
              <a:defRPr sz="2100"/>
            </a:lvl2pPr>
            <a:lvl3pPr marL="770309" indent="-211924" defTabSz="772691">
              <a:buSzPct val="80000"/>
              <a:buFont typeface="Arial" pitchFamily="34" charset="0"/>
              <a:buChar char="•"/>
              <a:defRPr sz="1800"/>
            </a:lvl3pPr>
            <a:lvl4pPr marL="988185" indent="-215496">
              <a:buSzPct val="80000"/>
              <a:buFont typeface="Arial" pitchFamily="34" charset="0"/>
              <a:buChar char="•"/>
              <a:defRPr sz="1500"/>
            </a:lvl4pPr>
            <a:lvl5pPr marL="1156059" indent="-167873">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54"/>
            <a:ext cx="4115872" cy="332399"/>
          </a:xfrm>
        </p:spPr>
        <p:txBody>
          <a:bodyPr anchor="b"/>
          <a:lstStyle>
            <a:lvl1pPr marL="0" indent="0">
              <a:lnSpc>
                <a:spcPct val="90000"/>
              </a:lnSpc>
              <a:spcBef>
                <a:spcPts val="0"/>
              </a:spcBef>
              <a:buNone/>
              <a:defRPr sz="2400" b="0">
                <a:latin typeface="Segoe UI Light" pitchFamily="34" charset="0"/>
              </a:defRPr>
            </a:lvl1pPr>
            <a:lvl2pPr marL="342874" indent="0">
              <a:buNone/>
              <a:defRPr sz="1500" b="1"/>
            </a:lvl2pPr>
            <a:lvl3pPr marL="685750" indent="0">
              <a:buNone/>
              <a:defRPr sz="1400" b="1"/>
            </a:lvl3pPr>
            <a:lvl4pPr marL="1028624" indent="0">
              <a:buNone/>
              <a:defRPr sz="1200" b="1"/>
            </a:lvl4pPr>
            <a:lvl5pPr marL="1371500" indent="0">
              <a:buNone/>
              <a:defRPr sz="1200" b="1"/>
            </a:lvl5pPr>
            <a:lvl6pPr marL="1714372" indent="0">
              <a:buNone/>
              <a:defRPr sz="1200" b="1"/>
            </a:lvl6pPr>
            <a:lvl7pPr marL="2057249" indent="0">
              <a:buNone/>
              <a:defRPr sz="1200" b="1"/>
            </a:lvl7pPr>
            <a:lvl8pPr marL="2400124" indent="0">
              <a:buNone/>
              <a:defRPr sz="1200" b="1"/>
            </a:lvl8pPr>
            <a:lvl9pPr marL="2742999"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234" indent="-222234">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886" indent="-342886">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862" indent="-257167">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856" indent="-257167">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551" indent="-257167">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856" indent="-257167">
              <a:defRPr sz="1200"/>
            </a:lvl6pPr>
            <a:lvl7pPr marL="1202492" indent="-214305">
              <a:defRPr sz="1200"/>
            </a:lvl7pPr>
            <a:lvl8pPr>
              <a:defRPr sz="1200"/>
            </a:lvl8pPr>
            <a:lvl9pPr>
              <a:defRPr sz="1200"/>
            </a:lvl9pPr>
          </a:lstStyle>
          <a:p>
            <a:pPr marL="302410" lvl="0" indent="-302410" algn="l" defTabSz="685750" rtl="0" eaLnBrk="1" latinLnBrk="0" hangingPunct="1">
              <a:lnSpc>
                <a:spcPct val="90000"/>
              </a:lnSpc>
              <a:spcBef>
                <a:spcPct val="20000"/>
              </a:spcBef>
              <a:buSzPct val="80000"/>
            </a:pPr>
            <a:r>
              <a:rPr lang="en-US" smtClean="0"/>
              <a:t>Click to edit Master text styles</a:t>
            </a:r>
          </a:p>
          <a:p>
            <a:pPr marL="302410" lvl="1" indent="-302410" algn="l" defTabSz="685750" rtl="0" eaLnBrk="1" latinLnBrk="0" hangingPunct="1">
              <a:lnSpc>
                <a:spcPct val="90000"/>
              </a:lnSpc>
              <a:spcBef>
                <a:spcPct val="20000"/>
              </a:spcBef>
              <a:buSzPct val="80000"/>
            </a:pPr>
            <a:r>
              <a:rPr lang="en-US" smtClean="0"/>
              <a:t>Second level</a:t>
            </a:r>
          </a:p>
          <a:p>
            <a:pPr marL="302410" lvl="2" indent="-302410" algn="l" defTabSz="685750" rtl="0" eaLnBrk="1" latinLnBrk="0" hangingPunct="1">
              <a:lnSpc>
                <a:spcPct val="90000"/>
              </a:lnSpc>
              <a:spcBef>
                <a:spcPct val="20000"/>
              </a:spcBef>
              <a:buSzPct val="80000"/>
            </a:pPr>
            <a:r>
              <a:rPr lang="en-US" smtClean="0"/>
              <a:t>Third level</a:t>
            </a:r>
          </a:p>
          <a:p>
            <a:pPr marL="302410" lvl="3" indent="-302410" algn="l" defTabSz="685750" rtl="0" eaLnBrk="1" latinLnBrk="0" hangingPunct="1">
              <a:lnSpc>
                <a:spcPct val="90000"/>
              </a:lnSpc>
              <a:spcBef>
                <a:spcPct val="20000"/>
              </a:spcBef>
              <a:buSzPct val="80000"/>
            </a:pPr>
            <a:r>
              <a:rPr lang="en-US" smtClean="0"/>
              <a:t>Fourth level</a:t>
            </a:r>
          </a:p>
          <a:p>
            <a:pPr marL="302410" lvl="4" indent="-302410" algn="l" defTabSz="685750"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3138685025"/>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4" name="Picture 3"/>
          <p:cNvPicPr>
            <a:picLocks noChangeAspect="1"/>
          </p:cNvPicPr>
          <p:nvPr userDrawn="1"/>
        </p:nvPicPr>
        <p:blipFill>
          <a:blip r:embed="rId4" cstate="email">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tretch>
            <a:fillRect/>
          </a:stretch>
        </p:blipFill>
        <p:spPr>
          <a:xfrm>
            <a:off x="7944729" y="4758709"/>
            <a:ext cx="1028968" cy="327642"/>
          </a:xfrm>
          <a:prstGeom prst="rect">
            <a:avLst/>
          </a:prstGeom>
        </p:spPr>
      </p:pic>
    </p:spTree>
    <p:extLst>
      <p:ext uri="{BB962C8B-B14F-4D97-AF65-F5344CB8AC3E}">
        <p14:creationId xmlns:p14="http://schemas.microsoft.com/office/powerpoint/2010/main" val="3316214507"/>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7" y="4779411"/>
            <a:ext cx="1261769" cy="146626"/>
          </a:xfrm>
          <a:prstGeom prst="rect">
            <a:avLst/>
          </a:prstGeom>
        </p:spPr>
      </p:pic>
    </p:spTree>
    <p:extLst>
      <p:ext uri="{BB962C8B-B14F-4D97-AF65-F5344CB8AC3E}">
        <p14:creationId xmlns:p14="http://schemas.microsoft.com/office/powerpoint/2010/main" val="2117385990"/>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750"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0"/>
            <a:ext cx="5210341" cy="931409"/>
          </a:xfrm>
        </p:spPr>
        <p:txBody>
          <a:bodyPr lIns="137154" tIns="137154" anchor="ctr" anchorCtr="0"/>
          <a:lstStyle>
            <a:lvl1pPr marL="430992" indent="-42861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47" indent="-257167">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750" rtl="0" eaLnBrk="1" latinLnBrk="0" hangingPunct="1">
              <a:lnSpc>
                <a:spcPct val="90000"/>
              </a:lnSpc>
              <a:spcBef>
                <a:spcPts val="0"/>
              </a:spcBef>
              <a:spcAft>
                <a:spcPts val="675"/>
              </a:spcAft>
              <a:buSzPct val="80000"/>
            </a:pPr>
            <a:r>
              <a:rPr lang="en-US" smtClean="0"/>
              <a:t>Click to edit Master text styles</a:t>
            </a:r>
          </a:p>
          <a:p>
            <a:pPr marL="2382" lvl="1" indent="0" algn="l" defTabSz="685750"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6" tIns="30863" rIns="61726" bIns="30863" numCol="1" anchor="t" anchorCtr="0" compatLnSpc="1">
            <a:prstTxWarp prst="textNoShape">
              <a:avLst/>
            </a:prstTxWarp>
          </a:bodyPr>
          <a:lstStyle/>
          <a:p>
            <a:pPr defTabSz="914210"/>
            <a:endParaRPr lang="en-US" sz="1200">
              <a:solidFill>
                <a:srgbClr val="292929"/>
              </a:solidFill>
            </a:endParaRPr>
          </a:p>
        </p:txBody>
      </p:sp>
    </p:spTree>
    <p:extLst>
      <p:ext uri="{BB962C8B-B14F-4D97-AF65-F5344CB8AC3E}">
        <p14:creationId xmlns:p14="http://schemas.microsoft.com/office/powerpoint/2010/main" val="35009363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09" y="4779411"/>
            <a:ext cx="1261769" cy="146626"/>
          </a:xfrm>
          <a:prstGeom prst="rect">
            <a:avLst/>
          </a:prstGeom>
        </p:spPr>
      </p:pic>
      <p:sp>
        <p:nvSpPr>
          <p:cNvPr id="4" name="TextBox 3"/>
          <p:cNvSpPr txBox="1"/>
          <p:nvPr userDrawn="1"/>
        </p:nvSpPr>
        <p:spPr>
          <a:xfrm>
            <a:off x="2562135" y="4758681"/>
            <a:ext cx="3135473" cy="197362"/>
          </a:xfrm>
          <a:prstGeom prst="rect">
            <a:avLst/>
          </a:prstGeom>
          <a:noFill/>
        </p:spPr>
        <p:txBody>
          <a:bodyPr wrap="none" lIns="0" tIns="0" rIns="0" bIns="0" rtlCol="0">
            <a:spAutoFit/>
          </a:bodyPr>
          <a:lstStyle/>
          <a:p>
            <a:pPr marL="0" indent="0">
              <a:lnSpc>
                <a:spcPct val="90000"/>
              </a:lnSpc>
              <a:spcBef>
                <a:spcPct val="20000"/>
              </a:spcBef>
              <a:buSzPct val="80000"/>
              <a:buNone/>
            </a:pPr>
            <a:r>
              <a:rPr lang="en-US" sz="1400" dirty="0" smtClean="0">
                <a:solidFill>
                  <a:schemeClr val="bg2">
                    <a:lumMod val="75000"/>
                  </a:schemeClr>
                </a:solidFill>
              </a:rPr>
              <a:t>Microsoft Confidential</a:t>
            </a:r>
            <a:r>
              <a:rPr lang="en-US" sz="1400" baseline="0" dirty="0" smtClean="0">
                <a:solidFill>
                  <a:schemeClr val="bg2">
                    <a:lumMod val="75000"/>
                  </a:schemeClr>
                </a:solidFill>
              </a:rPr>
              <a:t> – NDA Required</a:t>
            </a:r>
            <a:endParaRPr lang="en-US" sz="1400" dirty="0">
              <a:solidFill>
                <a:schemeClr val="bg2">
                  <a:lumMod val="75000"/>
                </a:schemeClr>
              </a:solidFill>
            </a:endParaRPr>
          </a:p>
        </p:txBody>
      </p:sp>
    </p:spTree>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3772369535"/>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p:nvSpPr>
        <p:spPr bwMode="auto">
          <a:xfrm>
            <a:off x="6220589"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77" tIns="34289" rIns="68577" bIns="34289" numCol="1" anchor="t" anchorCtr="0" compatLnSpc="1">
            <a:prstTxWarp prst="textNoShape">
              <a:avLst/>
            </a:prstTxWarp>
          </a:bodyPr>
          <a:lstStyle/>
          <a:p>
            <a:pPr defTabSz="914248"/>
            <a:endParaRPr lang="en-US">
              <a:solidFill>
                <a:srgbClr val="292929"/>
              </a:solidFill>
            </a:endParaRPr>
          </a:p>
        </p:txBody>
      </p:sp>
    </p:spTree>
    <p:extLst>
      <p:ext uri="{BB962C8B-B14F-4D97-AF65-F5344CB8AC3E}">
        <p14:creationId xmlns:p14="http://schemas.microsoft.com/office/powerpoint/2010/main" val="1898580735"/>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p:nvGrpSpPr>
        <p:grpSpPr bwMode="black">
          <a:xfrm>
            <a:off x="5929973" y="1682202"/>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14248"/>
              <a:endParaRPr lang="en-US" sz="1200">
                <a:solidFill>
                  <a:srgbClr val="292929"/>
                </a:solidFill>
              </a:endParaRPr>
            </a:p>
          </p:txBody>
        </p:sp>
      </p:grpSp>
    </p:spTree>
    <p:extLst>
      <p:ext uri="{BB962C8B-B14F-4D97-AF65-F5344CB8AC3E}">
        <p14:creationId xmlns:p14="http://schemas.microsoft.com/office/powerpoint/2010/main" val="1780950982"/>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726" tIns="30863" rIns="61726" bIns="30863" numCol="1" anchor="t" anchorCtr="0" compatLnSpc="1">
            <a:prstTxWarp prst="textNoShape">
              <a:avLst/>
            </a:prstTxWarp>
          </a:bodyPr>
          <a:lstStyle/>
          <a:p>
            <a:pPr defTabSz="914248"/>
            <a:endParaRPr lang="en-US" sz="1200">
              <a:solidFill>
                <a:srgbClr val="292929"/>
              </a:solidFill>
            </a:endParaRPr>
          </a:p>
        </p:txBody>
      </p:sp>
    </p:spTree>
    <p:extLst>
      <p:ext uri="{BB962C8B-B14F-4D97-AF65-F5344CB8AC3E}">
        <p14:creationId xmlns:p14="http://schemas.microsoft.com/office/powerpoint/2010/main" val="3180802512"/>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4"/>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58"/>
            <a:ext cx="3154788" cy="346249"/>
          </a:xfrm>
        </p:spPr>
        <p:txBody>
          <a:bodyPr>
            <a:noAutofit/>
          </a:bodyPr>
          <a:lstStyle>
            <a:lvl1pPr marL="0" indent="0" algn="l" defTabSz="685750"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74" indent="0" algn="ctr">
              <a:buNone/>
              <a:defRPr>
                <a:solidFill>
                  <a:schemeClr val="tx1">
                    <a:tint val="75000"/>
                  </a:schemeClr>
                </a:solidFill>
              </a:defRPr>
            </a:lvl2pPr>
            <a:lvl3pPr marL="685750" indent="0" algn="ctr">
              <a:buNone/>
              <a:defRPr>
                <a:solidFill>
                  <a:schemeClr val="tx1">
                    <a:tint val="75000"/>
                  </a:schemeClr>
                </a:solidFill>
              </a:defRPr>
            </a:lvl3pPr>
            <a:lvl4pPr marL="1028624" indent="0" algn="ctr">
              <a:buNone/>
              <a:defRPr>
                <a:solidFill>
                  <a:schemeClr val="tx1">
                    <a:tint val="75000"/>
                  </a:schemeClr>
                </a:solidFill>
              </a:defRPr>
            </a:lvl4pPr>
            <a:lvl5pPr marL="1371500" indent="0" algn="ctr">
              <a:buNone/>
              <a:defRPr>
                <a:solidFill>
                  <a:schemeClr val="tx1">
                    <a:tint val="75000"/>
                  </a:schemeClr>
                </a:solidFill>
              </a:defRPr>
            </a:lvl5pPr>
            <a:lvl6pPr marL="1714372" indent="0" algn="ctr">
              <a:buNone/>
              <a:defRPr>
                <a:solidFill>
                  <a:schemeClr val="tx1">
                    <a:tint val="75000"/>
                  </a:schemeClr>
                </a:solidFill>
              </a:defRPr>
            </a:lvl6pPr>
            <a:lvl7pPr marL="2057249" indent="0" algn="ctr">
              <a:buNone/>
              <a:defRPr>
                <a:solidFill>
                  <a:schemeClr val="tx1">
                    <a:tint val="75000"/>
                  </a:schemeClr>
                </a:solidFill>
              </a:defRPr>
            </a:lvl7pPr>
            <a:lvl8pPr marL="2400124" indent="0" algn="ctr">
              <a:buNone/>
              <a:defRPr>
                <a:solidFill>
                  <a:schemeClr val="tx1">
                    <a:tint val="75000"/>
                  </a:schemeClr>
                </a:solidFill>
              </a:defRPr>
            </a:lvl8pPr>
            <a:lvl9pPr marL="2742999"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6663808"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248"/>
              <a:endParaRPr lang="en-US">
                <a:solidFill>
                  <a:srgbClr val="292929"/>
                </a:solidFill>
              </a:endParaRPr>
            </a:p>
          </p:txBody>
        </p:sp>
      </p:grpSp>
    </p:spTree>
    <p:extLst>
      <p:ext uri="{BB962C8B-B14F-4D97-AF65-F5344CB8AC3E}">
        <p14:creationId xmlns:p14="http://schemas.microsoft.com/office/powerpoint/2010/main" val="840211616"/>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40"/>
            <a:ext cx="1880410" cy="218515"/>
          </a:xfrm>
          <a:prstGeom prst="rect">
            <a:avLst/>
          </a:prstGeom>
        </p:spPr>
      </p:pic>
    </p:spTree>
    <p:extLst>
      <p:ext uri="{BB962C8B-B14F-4D97-AF65-F5344CB8AC3E}">
        <p14:creationId xmlns:p14="http://schemas.microsoft.com/office/powerpoint/2010/main" val="248720298"/>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66" tIns="34283" rIns="68566" bIns="34283" numCol="1" anchor="t" anchorCtr="0" compatLnSpc="1">
            <a:prstTxWarp prst="textNoShape">
              <a:avLst/>
            </a:prstTxWarp>
            <a:spAutoFit/>
          </a:bodyPr>
          <a:lstStyle/>
          <a:p>
            <a:pPr algn="ctr" defTabSz="685552"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2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552"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1864611377"/>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p:ph type="body" sz="quarter" idx="10" hasCustomPrompt="1"/>
          </p:nvPr>
        </p:nvSpPr>
        <p:spPr>
          <a:xfrm>
            <a:off x="384673" y="2169535"/>
            <a:ext cx="8423524" cy="914096"/>
          </a:xfrm>
        </p:spPr>
        <p:txBody>
          <a:bodyPr/>
          <a:lstStyle>
            <a:lvl1pPr marL="0" indent="0">
              <a:buNone/>
              <a:defRPr lang="en-US" sz="6600" i="0" kern="1200" spc="-75" baseline="0" dirty="0" smtClean="0">
                <a:solidFill>
                  <a:schemeClr val="bg1">
                    <a:alpha val="99000"/>
                  </a:schemeClr>
                </a:solidFill>
                <a:latin typeface="Segoe UI Light" pitchFamily="34" charset="0"/>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p:ph type="body" sz="quarter" idx="11" hasCustomPrompt="1"/>
          </p:nvPr>
        </p:nvSpPr>
        <p:spPr>
          <a:xfrm>
            <a:off x="384673" y="3257554"/>
            <a:ext cx="5636696" cy="332399"/>
          </a:xfrm>
        </p:spPr>
        <p:txBody>
          <a:bodyPr/>
          <a:lstStyle>
            <a:lvl1pPr marL="0" indent="0">
              <a:buNone/>
              <a:defRPr lang="en-US" sz="2400" kern="1200" spc="-75" baseline="0" dirty="0">
                <a:solidFill>
                  <a:schemeClr val="bg1">
                    <a:alpha val="99000"/>
                  </a:schemeClr>
                </a:solidFill>
                <a:latin typeface="+mj-lt"/>
                <a:ea typeface="+mn-ea"/>
                <a:cs typeface="+mn-cs"/>
              </a:defRPr>
            </a:lvl1pPr>
          </a:lstStyle>
          <a:p>
            <a:pPr marL="0" lvl="0" indent="0" algn="l" defTabSz="685750"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26" name="Picture 25" descr="Microsoft logo and tagline"/>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bwMode="black">
          <a:xfrm>
            <a:off x="401135" y="4773492"/>
            <a:ext cx="1197051" cy="201275"/>
          </a:xfrm>
          <a:prstGeom prst="rect">
            <a:avLst/>
          </a:prstGeom>
          <a:noFill/>
          <a:ln>
            <a:noFill/>
          </a:ln>
        </p:spPr>
      </p:pic>
      <p:pic>
        <p:nvPicPr>
          <p:cNvPr id="7" name="Picture 6"/>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56978779"/>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80751643"/>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389436" y="1085849"/>
            <a:ext cx="8363938" cy="1500411"/>
          </a:xfrm>
        </p:spPr>
        <p:txBody>
          <a:bodyPr/>
          <a:lstStyle>
            <a:lvl1pPr marL="345267" indent="-345267">
              <a:buClr>
                <a:srgbClr val="FFFFFF"/>
              </a:buClr>
              <a:buSzPct val="70000"/>
              <a:buFontTx/>
              <a:buBlip>
                <a:blip r:embed="rId2"/>
              </a:buBlip>
              <a:defRPr>
                <a:gradFill>
                  <a:gsLst>
                    <a:gs pos="0">
                      <a:srgbClr val="FFFFFF"/>
                    </a:gs>
                    <a:gs pos="86000">
                      <a:srgbClr val="FFFFFF"/>
                    </a:gs>
                  </a:gsLst>
                  <a:lin ang="5400000" scaled="0"/>
                </a:gradFill>
              </a:defRPr>
            </a:lvl1pPr>
            <a:lvl2pPr marL="641726" indent="-296458">
              <a:buClr>
                <a:srgbClr val="FFFFFF"/>
              </a:buClr>
              <a:buSzPct val="70000"/>
              <a:buFontTx/>
              <a:buBlip>
                <a:blip r:embed="rId2"/>
              </a:buBlip>
              <a:defRPr>
                <a:gradFill>
                  <a:gsLst>
                    <a:gs pos="0">
                      <a:srgbClr val="FFFFFF"/>
                    </a:gs>
                    <a:gs pos="86000">
                      <a:srgbClr val="FFFFFF"/>
                    </a:gs>
                  </a:gsLst>
                  <a:lin ang="5400000" scaled="0"/>
                </a:gradFill>
              </a:defRPr>
            </a:lvl2pPr>
            <a:lvl3pPr marL="944136" indent="-302410">
              <a:buClr>
                <a:srgbClr val="FFFFFF"/>
              </a:buClr>
              <a:buSzPct val="70000"/>
              <a:buFontTx/>
              <a:buBlip>
                <a:blip r:embed="rId2"/>
              </a:buBlip>
              <a:defRPr>
                <a:gradFill>
                  <a:gsLst>
                    <a:gs pos="0">
                      <a:srgbClr val="FFFFFF"/>
                    </a:gs>
                    <a:gs pos="86000">
                      <a:srgbClr val="FFFFFF"/>
                    </a:gs>
                  </a:gsLst>
                  <a:lin ang="5400000" scaled="0"/>
                </a:gradFill>
              </a:defRPr>
            </a:lvl3pPr>
            <a:lvl4pPr marL="1203679" indent="-259547">
              <a:buClr>
                <a:srgbClr val="FFFFFF"/>
              </a:buClr>
              <a:buSzPct val="70000"/>
              <a:buFontTx/>
              <a:buBlip>
                <a:blip r:embed="rId2"/>
              </a:buBlip>
              <a:defRPr>
                <a:gradFill>
                  <a:gsLst>
                    <a:gs pos="0">
                      <a:srgbClr val="FFFFFF"/>
                    </a:gs>
                    <a:gs pos="86000">
                      <a:srgbClr val="FFFFFF"/>
                    </a:gs>
                  </a:gsLst>
                  <a:lin ang="5400000" scaled="0"/>
                </a:gradFill>
              </a:defRPr>
            </a:lvl4pPr>
            <a:lvl5pPr marL="1456087" indent="-252404">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1" y="4679157"/>
            <a:ext cx="9144001" cy="464344"/>
          </a:xfrm>
          <a:solidFill>
            <a:srgbClr val="FFFF99"/>
          </a:solidFill>
        </p:spPr>
        <p:txBody>
          <a:bodyPr wrap="square" lIns="114291" tIns="57143" rIns="114291" bIns="57143" anchor="b" anchorCtr="0">
            <a:noAutofit/>
          </a:bodyPr>
          <a:lstStyle>
            <a:lvl1pPr algn="r">
              <a:buFont typeface="Arial" pitchFamily="34" charset="0"/>
              <a:buNone/>
              <a:defRPr spc="-38"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592805771"/>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4" tIns="34273" rIns="68544" bIns="34273" numCol="1" spcCol="0" rtlCol="0" anchor="ctr" anchorCtr="0" compatLnSpc="1">
            <a:prstTxWarp prst="textNoShape">
              <a:avLst/>
            </a:prstTxWarp>
          </a:bodyPr>
          <a:lstStyle/>
          <a:p>
            <a:pPr algn="ctr" defTabSz="68526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693"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2"/>
            <a:ext cx="5210341" cy="931409"/>
          </a:xfrm>
        </p:spPr>
        <p:txBody>
          <a:bodyPr lIns="137142" tIns="137142" anchor="ctr" anchorCtr="0"/>
          <a:lstStyle>
            <a:lvl1pPr marL="430956" indent="-428574">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525" indent="-257146">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693" rtl="0" eaLnBrk="1" latinLnBrk="0" hangingPunct="1">
              <a:lnSpc>
                <a:spcPct val="90000"/>
              </a:lnSpc>
              <a:spcBef>
                <a:spcPts val="0"/>
              </a:spcBef>
              <a:spcAft>
                <a:spcPts val="675"/>
              </a:spcAft>
              <a:buSzPct val="80000"/>
            </a:pPr>
            <a:r>
              <a:rPr lang="en-US" smtClean="0"/>
              <a:t>Click to edit Master text styles</a:t>
            </a:r>
          </a:p>
          <a:p>
            <a:pPr marL="2382" lvl="1" indent="0" algn="l" defTabSz="685693"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720" tIns="30860" rIns="61720" bIns="30860" numCol="1" anchor="t" anchorCtr="0" compatLnSpc="1">
            <a:prstTxWarp prst="textNoShape">
              <a:avLst/>
            </a:prstTxWarp>
          </a:bodyPr>
          <a:lstStyle/>
          <a:p>
            <a:pPr lvl="0" defTabSz="914134"/>
            <a:endParaRPr lang="en-US" sz="1200">
              <a:solidFill>
                <a:srgbClr val="292929"/>
              </a:solidFill>
            </a:endParaRPr>
          </a:p>
        </p:txBody>
      </p:sp>
    </p:spTree>
    <p:extLst>
      <p:ext uri="{BB962C8B-B14F-4D97-AF65-F5344CB8AC3E}">
        <p14:creationId xmlns:p14="http://schemas.microsoft.com/office/powerpoint/2010/main" val="2480588676"/>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3_Title Slide">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Title 1"/>
          <p:cNvSpPr>
            <a:spLocks noGrp="1"/>
          </p:cNvSpPr>
          <p:nvPr>
            <p:ph type="ctrTitle" hasCustomPrompt="1"/>
          </p:nvPr>
        </p:nvSpPr>
        <p:spPr>
          <a:xfrm>
            <a:off x="453406" y="2002077"/>
            <a:ext cx="7729525" cy="1102519"/>
          </a:xfrm>
        </p:spPr>
        <p:txBody>
          <a:bodyPr>
            <a:noAutofit/>
          </a:bodyPr>
          <a:lstStyle>
            <a:lvl1pPr algn="l">
              <a:lnSpc>
                <a:spcPct val="90000"/>
              </a:lnSpc>
              <a:spcAft>
                <a:spcPts val="600"/>
              </a:spcAft>
              <a:defRPr sz="5400" b="1" i="0" baseline="0">
                <a:solidFill>
                  <a:schemeClr val="bg1">
                    <a:alpha val="97000"/>
                  </a:schemeClr>
                </a:solidFill>
                <a:effectLst>
                  <a:outerShdw blurRad="25400" dist="38100" dir="2700000">
                    <a:srgbClr val="000000">
                      <a:alpha val="9000"/>
                    </a:srgbClr>
                  </a:outerShdw>
                </a:effectLst>
                <a:latin typeface="Segoe"/>
                <a:cs typeface="Segoe"/>
              </a:defRPr>
            </a:lvl1pPr>
          </a:lstStyle>
          <a:p>
            <a:r>
              <a:rPr lang="en-US" dirty="0" smtClean="0"/>
              <a:t>click to edit master </a:t>
            </a:r>
            <a:br>
              <a:rPr lang="en-US" dirty="0" smtClean="0"/>
            </a:br>
            <a:r>
              <a:rPr lang="en-US" dirty="0" smtClean="0"/>
              <a:t>text style</a:t>
            </a:r>
            <a:endParaRPr lang="en-US" dirty="0"/>
          </a:p>
        </p:txBody>
      </p:sp>
      <p:sp>
        <p:nvSpPr>
          <p:cNvPr id="8" name="Subtitle 2"/>
          <p:cNvSpPr>
            <a:spLocks noGrp="1"/>
          </p:cNvSpPr>
          <p:nvPr>
            <p:ph type="subTitle" idx="1" hasCustomPrompt="1"/>
          </p:nvPr>
        </p:nvSpPr>
        <p:spPr>
          <a:xfrm>
            <a:off x="453402" y="3240016"/>
            <a:ext cx="5289917" cy="549413"/>
          </a:xfrm>
        </p:spPr>
        <p:txBody>
          <a:bodyPr>
            <a:normAutofit/>
          </a:bodyPr>
          <a:lstStyle>
            <a:lvl1pPr marL="0" indent="0" algn="l">
              <a:buNone/>
              <a:defRPr sz="2000" b="0" i="0">
                <a:solidFill>
                  <a:srgbClr val="FFFFFF"/>
                </a:solidFill>
                <a:latin typeface="Segoe"/>
                <a:cs typeface="Segoe"/>
              </a:defRPr>
            </a:lvl1pPr>
            <a:lvl2pPr marL="457124" indent="0" algn="ctr">
              <a:buNone/>
              <a:defRPr>
                <a:solidFill>
                  <a:schemeClr val="tx1">
                    <a:tint val="75000"/>
                  </a:schemeClr>
                </a:solidFill>
              </a:defRPr>
            </a:lvl2pPr>
            <a:lvl3pPr marL="914248" indent="0" algn="ctr">
              <a:buNone/>
              <a:defRPr>
                <a:solidFill>
                  <a:schemeClr val="tx1">
                    <a:tint val="75000"/>
                  </a:schemeClr>
                </a:solidFill>
              </a:defRPr>
            </a:lvl3pPr>
            <a:lvl4pPr marL="1371372" indent="0" algn="ctr">
              <a:buNone/>
              <a:defRPr>
                <a:solidFill>
                  <a:schemeClr val="tx1">
                    <a:tint val="75000"/>
                  </a:schemeClr>
                </a:solidFill>
              </a:defRPr>
            </a:lvl4pPr>
            <a:lvl5pPr marL="1828496" indent="0" algn="ctr">
              <a:buNone/>
              <a:defRPr>
                <a:solidFill>
                  <a:schemeClr val="tx1">
                    <a:tint val="75000"/>
                  </a:schemeClr>
                </a:solidFill>
              </a:defRPr>
            </a:lvl5pPr>
            <a:lvl6pPr marL="2285618" indent="0" algn="ctr">
              <a:buNone/>
              <a:defRPr>
                <a:solidFill>
                  <a:schemeClr val="tx1">
                    <a:tint val="75000"/>
                  </a:schemeClr>
                </a:solidFill>
              </a:defRPr>
            </a:lvl6pPr>
            <a:lvl7pPr marL="2742744" indent="0" algn="ctr">
              <a:buNone/>
              <a:defRPr>
                <a:solidFill>
                  <a:schemeClr val="tx1">
                    <a:tint val="75000"/>
                  </a:schemeClr>
                </a:solidFill>
              </a:defRPr>
            </a:lvl7pPr>
            <a:lvl8pPr marL="3199866" indent="0" algn="ctr">
              <a:buNone/>
              <a:defRPr>
                <a:solidFill>
                  <a:schemeClr val="tx1">
                    <a:tint val="75000"/>
                  </a:schemeClr>
                </a:solidFill>
              </a:defRPr>
            </a:lvl8pPr>
            <a:lvl9pPr marL="3656990" indent="0" algn="ctr">
              <a:buNone/>
              <a:defRPr>
                <a:solidFill>
                  <a:schemeClr val="tx1">
                    <a:tint val="75000"/>
                  </a:schemeClr>
                </a:solidFill>
              </a:defRPr>
            </a:lvl9pPr>
          </a:lstStyle>
          <a:p>
            <a:r>
              <a:rPr lang="en-US" dirty="0" smtClean="0"/>
              <a:t>click to edit Master subtitle style</a:t>
            </a:r>
            <a:endParaRPr lang="en-US" dirty="0"/>
          </a:p>
        </p:txBody>
      </p:sp>
      <p:sp>
        <p:nvSpPr>
          <p:cNvPr id="9"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618284764"/>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4_Title and Conten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smtClean="0"/>
              <a:t>Click to edit Master title style</a:t>
            </a:r>
            <a:endParaRPr lang="en-US" dirty="0"/>
          </a:p>
        </p:txBody>
      </p:sp>
      <p:sp>
        <p:nvSpPr>
          <p:cNvPr id="3" name="Content Placeholder 2"/>
          <p:cNvSpPr>
            <a:spLocks noGrp="1"/>
          </p:cNvSpPr>
          <p:nvPr>
            <p:ph idx="1"/>
          </p:nvPr>
        </p:nvSpPr>
        <p:spPr>
          <a:xfrm>
            <a:off x="457200" y="1111694"/>
            <a:ext cx="8229600" cy="1500411"/>
          </a:xfrm>
        </p:spPr>
        <p:txBody>
          <a:bodyPr/>
          <a:lstStyle>
            <a:lvl1pPr>
              <a:defRPr b="0" i="0">
                <a:solidFill>
                  <a:schemeClr val="tx1">
                    <a:lumMod val="65000"/>
                    <a:lumOff val="35000"/>
                  </a:schemeClr>
                </a:solidFill>
                <a:latin typeface="Segoe"/>
                <a:cs typeface="Segoe"/>
              </a:defRPr>
            </a:lvl1pPr>
            <a:lvl2pPr>
              <a:defRPr b="0" i="0">
                <a:solidFill>
                  <a:schemeClr val="tx1">
                    <a:lumMod val="65000"/>
                    <a:lumOff val="35000"/>
                  </a:schemeClr>
                </a:solidFill>
                <a:latin typeface="Segoe"/>
                <a:cs typeface="Segoe"/>
              </a:defRPr>
            </a:lvl2pPr>
            <a:lvl3pPr>
              <a:defRPr b="0" i="0">
                <a:solidFill>
                  <a:schemeClr val="tx1">
                    <a:lumMod val="65000"/>
                    <a:lumOff val="35000"/>
                  </a:schemeClr>
                </a:solidFill>
                <a:latin typeface="Segoe"/>
                <a:cs typeface="Segoe"/>
              </a:defRPr>
            </a:lvl3pPr>
            <a:lvl4pPr>
              <a:defRPr b="0" i="0">
                <a:solidFill>
                  <a:schemeClr val="tx1">
                    <a:lumMod val="65000"/>
                    <a:lumOff val="35000"/>
                  </a:schemeClr>
                </a:solidFill>
                <a:latin typeface="Segoe"/>
                <a:cs typeface="Segoe"/>
              </a:defRPr>
            </a:lvl4pPr>
            <a:lvl5pPr>
              <a:defRPr b="0" i="0">
                <a:solidFill>
                  <a:schemeClr val="tx1">
                    <a:lumMod val="65000"/>
                    <a:lumOff val="35000"/>
                  </a:schemeClr>
                </a:solidFill>
                <a:latin typeface="Segoe"/>
                <a:cs typeface="Sego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Slide Number Placeholder 5"/>
          <p:cNvSpPr>
            <a:spLocks noGrp="1"/>
          </p:cNvSpPr>
          <p:nvPr>
            <p:ph type="sldNum" sz="quarter" idx="12"/>
          </p:nvPr>
        </p:nvSpPr>
        <p:spPr>
          <a:xfrm>
            <a:off x="3511886" y="4772415"/>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B6F15528-21DE-4FAA-801E-634DDDAF4B2B}" type="slidenum">
              <a:rPr lang="en-US" smtClean="0">
                <a:solidFill>
                  <a:srgbClr val="292929">
                    <a:lumMod val="95000"/>
                    <a:lumOff val="5000"/>
                  </a:srgbClr>
                </a:solidFill>
              </a:rPr>
              <a:pPr defTabSz="914248"/>
              <a:t>‹#›</a:t>
            </a:fld>
            <a:endParaRPr lang="en-US">
              <a:solidFill>
                <a:srgbClr val="292929">
                  <a:lumMod val="95000"/>
                  <a:lumOff val="5000"/>
                </a:srgbClr>
              </a:solidFill>
            </a:endParaRPr>
          </a:p>
        </p:txBody>
      </p:sp>
    </p:spTree>
    <p:extLst>
      <p:ext uri="{BB962C8B-B14F-4D97-AF65-F5344CB8AC3E}">
        <p14:creationId xmlns:p14="http://schemas.microsoft.com/office/powerpoint/2010/main" val="73453462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Two Panel Layout">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254443"/>
            <a:ext cx="8229600" cy="857250"/>
          </a:xfrm>
        </p:spPr>
        <p:txBody>
          <a:bodyPr>
            <a:normAutofit/>
          </a:bodyPr>
          <a:lstStyle>
            <a:lvl1pPr algn="ctr">
              <a:defRPr sz="3600" b="1" i="0">
                <a:solidFill>
                  <a:schemeClr val="tx1">
                    <a:lumMod val="75000"/>
                    <a:lumOff val="25000"/>
                  </a:schemeClr>
                </a:solidFill>
                <a:latin typeface="Segoe"/>
                <a:cs typeface="Segoe"/>
              </a:defRPr>
            </a:lvl1pPr>
          </a:lstStyle>
          <a:p>
            <a:r>
              <a:rPr lang="en-US" dirty="0" smtClean="0"/>
              <a:t>Click to edit Master title style</a:t>
            </a:r>
            <a:endParaRPr lang="en-US" dirty="0"/>
          </a:p>
        </p:txBody>
      </p:sp>
      <p:sp>
        <p:nvSpPr>
          <p:cNvPr id="10" name="Content Placeholder 2"/>
          <p:cNvSpPr>
            <a:spLocks noGrp="1"/>
          </p:cNvSpPr>
          <p:nvPr>
            <p:ph sz="half" idx="1"/>
          </p:nvPr>
        </p:nvSpPr>
        <p:spPr>
          <a:xfrm>
            <a:off x="457200" y="1115571"/>
            <a:ext cx="3959352" cy="2127121"/>
          </a:xfrm>
        </p:spPr>
        <p:txBody>
          <a:bodyPr/>
          <a:lstStyle>
            <a:lvl1pPr marL="339906" indent="-339906">
              <a:lnSpc>
                <a:spcPct val="90000"/>
              </a:lnSpc>
              <a:defRPr sz="2800">
                <a:solidFill>
                  <a:schemeClr val="tx1">
                    <a:lumMod val="65000"/>
                    <a:lumOff val="35000"/>
                  </a:schemeClr>
                </a:solidFill>
              </a:defRPr>
            </a:lvl1pPr>
            <a:lvl2pPr marL="673198" indent="-325357">
              <a:lnSpc>
                <a:spcPct val="90000"/>
              </a:lnSpc>
              <a:defRPr sz="2400">
                <a:solidFill>
                  <a:schemeClr val="tx1">
                    <a:lumMod val="65000"/>
                    <a:lumOff val="35000"/>
                  </a:schemeClr>
                </a:solidFill>
              </a:defRPr>
            </a:lvl2pPr>
            <a:lvl3pPr marL="953585" indent="-288324">
              <a:lnSpc>
                <a:spcPct val="90000"/>
              </a:lnSpc>
              <a:defRPr sz="2000">
                <a:solidFill>
                  <a:schemeClr val="tx1">
                    <a:lumMod val="65000"/>
                    <a:lumOff val="35000"/>
                  </a:schemeClr>
                </a:solidFill>
              </a:defRPr>
            </a:lvl3pPr>
            <a:lvl4pPr marL="1227363" indent="-273775">
              <a:lnSpc>
                <a:spcPct val="90000"/>
              </a:lnSpc>
              <a:defRPr sz="1800">
                <a:solidFill>
                  <a:schemeClr val="tx1">
                    <a:lumMod val="65000"/>
                    <a:lumOff val="35000"/>
                  </a:schemeClr>
                </a:solidFill>
              </a:defRPr>
            </a:lvl4pPr>
            <a:lvl5pPr marL="1515687" indent="-280387">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1" name="Content Placeholder 3"/>
          <p:cNvSpPr>
            <a:spLocks noGrp="1"/>
          </p:cNvSpPr>
          <p:nvPr>
            <p:ph sz="half" idx="2"/>
          </p:nvPr>
        </p:nvSpPr>
        <p:spPr>
          <a:xfrm>
            <a:off x="4724404" y="1115571"/>
            <a:ext cx="3962401" cy="2127121"/>
          </a:xfrm>
        </p:spPr>
        <p:txBody>
          <a:bodyPr/>
          <a:lstStyle>
            <a:lvl1pPr marL="347839" indent="-347839">
              <a:lnSpc>
                <a:spcPct val="90000"/>
              </a:lnSpc>
              <a:defRPr sz="2800">
                <a:solidFill>
                  <a:schemeClr val="tx1">
                    <a:lumMod val="65000"/>
                    <a:lumOff val="35000"/>
                  </a:schemeClr>
                </a:solidFill>
              </a:defRPr>
            </a:lvl1pPr>
            <a:lvl2pPr marL="673198" indent="-339906">
              <a:lnSpc>
                <a:spcPct val="90000"/>
              </a:lnSpc>
              <a:defRPr sz="2400">
                <a:solidFill>
                  <a:schemeClr val="tx1">
                    <a:lumMod val="65000"/>
                    <a:lumOff val="35000"/>
                  </a:schemeClr>
                </a:solidFill>
              </a:defRPr>
            </a:lvl2pPr>
            <a:lvl3pPr marL="961522" indent="-302875">
              <a:lnSpc>
                <a:spcPct val="90000"/>
              </a:lnSpc>
              <a:defRPr sz="2000">
                <a:solidFill>
                  <a:schemeClr val="tx1">
                    <a:lumMod val="65000"/>
                    <a:lumOff val="35000"/>
                  </a:schemeClr>
                </a:solidFill>
              </a:defRPr>
            </a:lvl3pPr>
            <a:lvl4pPr marL="1227363" indent="-265841">
              <a:lnSpc>
                <a:spcPct val="90000"/>
              </a:lnSpc>
              <a:defRPr sz="1800">
                <a:solidFill>
                  <a:schemeClr val="tx1">
                    <a:lumMod val="65000"/>
                    <a:lumOff val="35000"/>
                  </a:schemeClr>
                </a:solidFill>
              </a:defRPr>
            </a:lvl4pPr>
            <a:lvl5pPr marL="1515687" indent="-273775">
              <a:lnSpc>
                <a:spcPct val="90000"/>
              </a:lnSpc>
              <a:defRPr sz="1800">
                <a:solidFill>
                  <a:schemeClr val="tx1">
                    <a:lumMod val="65000"/>
                    <a:lumOff val="35000"/>
                  </a:schemeClr>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8" name="Slide Number Placeholder 5"/>
          <p:cNvSpPr>
            <a:spLocks noGrp="1"/>
          </p:cNvSpPr>
          <p:nvPr>
            <p:ph type="sldNum" sz="quarter" idx="12"/>
          </p:nvPr>
        </p:nvSpPr>
        <p:spPr>
          <a:xfrm>
            <a:off x="3511886" y="4729554"/>
            <a:ext cx="2133600" cy="273844"/>
          </a:xfrm>
          <a:prstGeom prst="rect">
            <a:avLst/>
          </a:prstGeom>
        </p:spPr>
        <p:txBody>
          <a:bodyPr lIns="91424" tIns="45712" rIns="91424" bIns="45712"/>
          <a:lstStyle>
            <a:lvl1pPr algn="ctr">
              <a:defRPr b="0" i="0">
                <a:solidFill>
                  <a:schemeClr val="tx1">
                    <a:lumMod val="95000"/>
                    <a:lumOff val="5000"/>
                  </a:schemeClr>
                </a:solidFill>
                <a:latin typeface="Segoe"/>
                <a:cs typeface="Segoe"/>
              </a:defRPr>
            </a:lvl1pPr>
          </a:lstStyle>
          <a:p>
            <a:pPr defTabSz="914248"/>
            <a:fld id="{1C24C1D7-E85D-3D41-874A-BD44A6CAB932}" type="slidenum">
              <a:rPr lang="en-US" smtClean="0">
                <a:solidFill>
                  <a:srgbClr val="292929">
                    <a:lumMod val="95000"/>
                    <a:lumOff val="5000"/>
                  </a:srgbClr>
                </a:solidFill>
              </a:rPr>
              <a:pPr defTabSz="914248"/>
              <a:t>‹#›</a:t>
            </a:fld>
            <a:endParaRPr lang="en-US" dirty="0">
              <a:solidFill>
                <a:srgbClr val="292929">
                  <a:lumMod val="95000"/>
                  <a:lumOff val="5000"/>
                </a:srgbClr>
              </a:solidFill>
            </a:endParaRPr>
          </a:p>
        </p:txBody>
      </p:sp>
      <p:pic>
        <p:nvPicPr>
          <p:cNvPr id="19" name="Picture 18"/>
          <p:cNvPicPr>
            <a:picLocks noChangeAspect="1"/>
          </p:cNvPicPr>
          <p:nvPr userDrawn="1"/>
        </p:nvPicPr>
        <p:blipFill>
          <a:blip r:embed="rId3" cstate="screen">
            <a:lum bright="-100000"/>
            <a:extLst>
              <a:ext uri="{28A0092B-C50C-407E-A947-70E740481C1C}">
                <a14:useLocalDpi xmlns:a14="http://schemas.microsoft.com/office/drawing/2010/main"/>
              </a:ext>
            </a:extLst>
          </a:blip>
          <a:stretch>
            <a:fillRect/>
          </a:stretch>
        </p:blipFill>
        <p:spPr>
          <a:xfrm>
            <a:off x="4114682" y="4954849"/>
            <a:ext cx="904750" cy="145790"/>
          </a:xfrm>
          <a:prstGeom prst="rect">
            <a:avLst/>
          </a:prstGeom>
        </p:spPr>
      </p:pic>
      <p:pic>
        <p:nvPicPr>
          <p:cNvPr id="20" name="Picture 2" descr="D:\User\Pictures\WinAzure_rgb - Copy.pn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87607" y="4555402"/>
            <a:ext cx="491671" cy="491671"/>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slide_gradient_background.png"/>
          <p:cNvPicPr>
            <a:picLocks noChangeAspect="1"/>
          </p:cNvPicPr>
          <p:nvPr userDrawn="1"/>
        </p:nvPicPr>
        <p:blipFill rotWithShape="1">
          <a:blip r:embed="rId5" cstate="print">
            <a:clrChange>
              <a:clrFrom>
                <a:srgbClr val="5EAFD7"/>
              </a:clrFrom>
              <a:clrTo>
                <a:srgbClr val="5EAFD7">
                  <a:alpha val="0"/>
                </a:srgbClr>
              </a:clrTo>
            </a:clrChange>
            <a:biLevel thresh="25000"/>
          </a:blip>
          <a:srcRect l="4861" t="92811" r="78750" b="1308"/>
          <a:stretch/>
        </p:blipFill>
        <p:spPr>
          <a:xfrm>
            <a:off x="522113" y="4583974"/>
            <a:ext cx="1750031" cy="470888"/>
          </a:xfrm>
          <a:prstGeom prst="rect">
            <a:avLst/>
          </a:prstGeom>
        </p:spPr>
      </p:pic>
      <p:pic>
        <p:nvPicPr>
          <p:cNvPr id="12"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7658904" y="4690829"/>
            <a:ext cx="1314792"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l="28024" r="37835"/>
          <a:stretch/>
        </p:blipFill>
        <p:spPr>
          <a:xfrm>
            <a:off x="6138503" y="4674881"/>
            <a:ext cx="1386137" cy="371475"/>
          </a:xfrm>
          <a:prstGeom prst="rect">
            <a:avLst/>
          </a:prstGeom>
        </p:spPr>
      </p:pic>
    </p:spTree>
    <p:extLst>
      <p:ext uri="{BB962C8B-B14F-4D97-AF65-F5344CB8AC3E}">
        <p14:creationId xmlns:p14="http://schemas.microsoft.com/office/powerpoint/2010/main" val="1047499042"/>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cSld name="3_Section Header">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 y="2768602"/>
            <a:ext cx="9143999" cy="1021556"/>
          </a:xfrm>
        </p:spPr>
        <p:txBody>
          <a:bodyPr anchor="t">
            <a:normAutofit/>
          </a:bodyPr>
          <a:lstStyle>
            <a:lvl1pPr algn="ctr">
              <a:defRPr sz="3600" b="1" i="0" cap="none">
                <a:solidFill>
                  <a:schemeClr val="bg1"/>
                </a:solidFill>
                <a:effectLst>
                  <a:outerShdw blurRad="25400" dist="38100" dir="2700000">
                    <a:srgbClr val="000000">
                      <a:alpha val="9000"/>
                    </a:srgbClr>
                  </a:outerShdw>
                </a:effectLst>
                <a:latin typeface="Segoe"/>
                <a:cs typeface="Segoe"/>
              </a:defRPr>
            </a:lvl1pPr>
          </a:lstStyle>
          <a:p>
            <a:r>
              <a:rPr lang="en-US" smtClean="0"/>
              <a:t>Click to edit Master title style</a:t>
            </a:r>
            <a:endParaRPr lang="en-US" dirty="0"/>
          </a:p>
        </p:txBody>
      </p:sp>
      <p:sp>
        <p:nvSpPr>
          <p:cNvPr id="6" name="Slide Number Placeholder 5"/>
          <p:cNvSpPr>
            <a:spLocks noGrp="1"/>
          </p:cNvSpPr>
          <p:nvPr>
            <p:ph type="sldNum" sz="quarter" idx="12"/>
          </p:nvPr>
        </p:nvSpPr>
        <p:spPr>
          <a:xfrm>
            <a:off x="445100" y="4767264"/>
            <a:ext cx="2133600" cy="273844"/>
          </a:xfrm>
          <a:prstGeom prst="rect">
            <a:avLst/>
          </a:prstGeom>
        </p:spPr>
        <p:txBody>
          <a:bodyPr lIns="91424" tIns="45712" rIns="91424" bIns="45712"/>
          <a:lstStyle>
            <a:lvl1pPr algn="l">
              <a:defRPr b="0" i="0">
                <a:solidFill>
                  <a:srgbClr val="FFFFFF"/>
                </a:solidFill>
                <a:latin typeface="Segoe"/>
                <a:cs typeface="Segoe"/>
              </a:defRPr>
            </a:lvl1pPr>
          </a:lstStyle>
          <a:p>
            <a:pPr defTabSz="914248"/>
            <a:fld id="{B6F15528-21DE-4FAA-801E-634DDDAF4B2B}" type="slidenum">
              <a:rPr lang="en-US" smtClean="0"/>
              <a:pPr defTabSz="914248"/>
              <a:t>‹#›</a:t>
            </a:fld>
            <a:endParaRPr lang="en-US"/>
          </a:p>
        </p:txBody>
      </p:sp>
    </p:spTree>
    <p:extLst>
      <p:ext uri="{BB962C8B-B14F-4D97-AF65-F5344CB8AC3E}">
        <p14:creationId xmlns:p14="http://schemas.microsoft.com/office/powerpoint/2010/main" val="334951000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389438" y="1428751"/>
            <a:ext cx="8363937" cy="1226874"/>
          </a:xfrm>
        </p:spPr>
        <p:txBody>
          <a:bodyPr/>
          <a:lstStyle>
            <a:lvl1pPr>
              <a:lnSpc>
                <a:spcPct val="90000"/>
              </a:lnSpc>
              <a:defRPr sz="1800"/>
            </a:lvl1pPr>
            <a:lvl2pPr>
              <a:lnSpc>
                <a:spcPct val="90000"/>
              </a:lnSpc>
              <a:defRPr sz="1500"/>
            </a:lvl2pPr>
            <a:lvl3pPr>
              <a:lnSpc>
                <a:spcPct val="90000"/>
              </a:lnSpc>
              <a:defRPr sz="1400"/>
            </a:lvl3pPr>
            <a:lvl4pPr>
              <a:lnSpc>
                <a:spcPct val="90000"/>
              </a:lnSpc>
              <a:defRPr sz="1400"/>
            </a:lvl4pPr>
            <a:lvl5pPr>
              <a:lnSpc>
                <a:spcPct val="90000"/>
              </a:lnSpc>
              <a:defRPr sz="1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608043461"/>
      </p:ext>
    </p:extLst>
  </p:cSld>
  <p:clrMapOvr>
    <a:masterClrMapping/>
  </p:clrMapOvr>
  <p:transition>
    <p:fade/>
  </p:transition>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89455" y="1675586"/>
            <a:ext cx="6281777" cy="1019397"/>
          </a:xfrm>
        </p:spPr>
        <p:txBody>
          <a:bodyPr anchor="ctr" anchorCtr="0">
            <a:noAutofit/>
          </a:bodyPr>
          <a:lstStyle>
            <a:lvl1pPr>
              <a:lnSpc>
                <a:spcPct val="90000"/>
              </a:lnSpc>
              <a:defRPr sz="5000"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389456" y="3459275"/>
            <a:ext cx="4091815" cy="858697"/>
          </a:xfrm>
        </p:spPr>
        <p:txBody>
          <a:bodyPr/>
          <a:lstStyle>
            <a:lvl1pPr marL="0" indent="0">
              <a:buFont typeface="Arial" pitchFamily="34" charset="0"/>
              <a:buNone/>
              <a:defRPr sz="1800">
                <a:solidFill>
                  <a:schemeClr val="bg1">
                    <a:alpha val="98000"/>
                  </a:schemeClr>
                </a:solidFill>
                <a:latin typeface="+mj-lt"/>
              </a:defRPr>
            </a:lvl1pPr>
            <a:lvl2pPr marL="345042" indent="0">
              <a:buFont typeface="Arial" pitchFamily="34" charset="0"/>
              <a:buNone/>
              <a:defRPr/>
            </a:lvl2pPr>
            <a:lvl3pPr marL="641321" indent="0">
              <a:buFont typeface="Arial" pitchFamily="34" charset="0"/>
              <a:buNone/>
              <a:defRPr/>
            </a:lvl3pPr>
            <a:lvl4pPr marL="943551" indent="0">
              <a:buFont typeface="Arial" pitchFamily="34" charset="0"/>
              <a:buNone/>
              <a:defRPr/>
            </a:lvl4pPr>
            <a:lvl5pPr marL="1202926" indent="0">
              <a:buFont typeface="Arial" pitchFamily="34" charset="0"/>
              <a:buNone/>
              <a:defRPr/>
            </a:lvl5pPr>
          </a:lstStyle>
          <a:p>
            <a:pPr lvl="0"/>
            <a:r>
              <a:rPr lang="en-US" dirty="0" smtClean="0"/>
              <a:t>Name</a:t>
            </a:r>
          </a:p>
          <a:p>
            <a:pPr lvl="0"/>
            <a:r>
              <a:rPr lang="en-US" dirty="0" smtClean="0"/>
              <a:t>Title</a:t>
            </a:r>
          </a:p>
          <a:p>
            <a:pPr lvl="0"/>
            <a:r>
              <a:rPr lang="en-US" dirty="0" smtClean="0"/>
              <a:t>Microsoft Corporation</a:t>
            </a:r>
          </a:p>
        </p:txBody>
      </p:sp>
      <p:pic>
        <p:nvPicPr>
          <p:cNvPr id="13" name="Picture 12"/>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89437" y="171451"/>
            <a:ext cx="1873858" cy="217754"/>
          </a:xfrm>
          <a:prstGeom prst="rect">
            <a:avLst/>
          </a:prstGeom>
        </p:spPr>
      </p:pic>
    </p:spTree>
    <p:extLst>
      <p:ext uri="{BB962C8B-B14F-4D97-AF65-F5344CB8AC3E}">
        <p14:creationId xmlns:p14="http://schemas.microsoft.com/office/powerpoint/2010/main" val="4098728459"/>
      </p:ext>
    </p:extLst>
  </p:cSld>
  <p:clrMapOvr>
    <a:masterClrMapping/>
  </p:clrMapOvr>
  <p:transition>
    <p:fade/>
  </p:transition>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50"/>
            <a:ext cx="8363938" cy="709810"/>
          </a:xfrm>
        </p:spPr>
        <p:txBody>
          <a:bodyPr/>
          <a:lstStyle>
            <a:lvl1pPr marL="2382" indent="0">
              <a:spcBef>
                <a:spcPts val="0"/>
              </a:spcBef>
              <a:spcAft>
                <a:spcPts val="675"/>
              </a:spcAft>
              <a:buSzPct val="80000"/>
              <a:buFont typeface="Arial" pitchFamily="34" charset="0"/>
              <a:buNone/>
              <a:defRPr sz="3000" spc="-75" baseline="0">
                <a:gradFill>
                  <a:gsLst>
                    <a:gs pos="0">
                      <a:srgbClr val="595959"/>
                    </a:gs>
                    <a:gs pos="86000">
                      <a:srgbClr val="595959"/>
                    </a:gs>
                  </a:gsLst>
                  <a:lin ang="5400000" scaled="0"/>
                </a:gradFill>
                <a:latin typeface="Segoe UI Light" pitchFamily="34" charset="0"/>
              </a:defRPr>
            </a:lvl1pPr>
            <a:lvl2pPr marL="2382" indent="0">
              <a:spcBef>
                <a:spcPts val="0"/>
              </a:spcBef>
              <a:buSzPct val="80000"/>
              <a:buFont typeface="Arial" pitchFamily="34" charset="0"/>
              <a:buNone/>
              <a:defRPr sz="1500" spc="-38" baseline="0">
                <a:gradFill>
                  <a:gsLst>
                    <a:gs pos="0">
                      <a:srgbClr val="595959"/>
                    </a:gs>
                    <a:gs pos="86000">
                      <a:srgbClr val="595959"/>
                    </a:gs>
                  </a:gsLst>
                  <a:lin ang="5400000" scaled="0"/>
                </a:gradFill>
              </a:defRPr>
            </a:lvl2pPr>
            <a:lvl3pPr marL="943551" indent="-302230">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202926" indent="-25938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455186" indent="-252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pic>
        <p:nvPicPr>
          <p:cNvPr id="4" name="Picture 3"/>
          <p:cNvPicPr>
            <a:picLocks noChangeAspect="1"/>
          </p:cNvPicPr>
          <p:nvPr userDrawn="1"/>
        </p:nvPicPr>
        <p:blipFill>
          <a:blip r:embed="rId3" cstate="print">
            <a:duotone>
              <a:prstClr val="black"/>
              <a:schemeClr val="tx2">
                <a:tint val="45000"/>
                <a:satMod val="400000"/>
              </a:schemeClr>
            </a:duotone>
            <a:extLst>
              <a:ext uri="{BEBA8EAE-BF5A-486C-A8C5-ECC9F3942E4B}">
                <a14:imgProps xmlns:a14="http://schemas.microsoft.com/office/drawing/2010/main">
                  <a14:imgLayer r:embed="rId4">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182957886"/>
      </p:ext>
    </p:extLst>
  </p:cSld>
  <p:clrMapOvr>
    <a:masterClrMapping/>
  </p:clrMapOvr>
  <p:transition>
    <p:fade/>
  </p:transition>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389436" y="1085849"/>
            <a:ext cx="8363938" cy="1574277"/>
          </a:xfrm>
        </p:spPr>
        <p:txBody>
          <a:bodyPr/>
          <a:lstStyle>
            <a:lvl1pPr marL="0" indent="0">
              <a:spcBef>
                <a:spcPts val="0"/>
              </a:spcBef>
              <a:spcAft>
                <a:spcPts val="0"/>
              </a:spcAft>
              <a:buFont typeface="Arial" pitchFamily="34" charset="0"/>
              <a:buNone/>
              <a:defRPr lang="en-US" sz="2400" kern="1200" dirty="0" smtClean="0">
                <a:gradFill>
                  <a:gsLst>
                    <a:gs pos="0">
                      <a:srgbClr val="595959"/>
                    </a:gs>
                    <a:gs pos="86000">
                      <a:srgbClr val="595959"/>
                    </a:gs>
                  </a:gsLst>
                  <a:lin ang="5400000" scaled="0"/>
                </a:gradFill>
                <a:latin typeface="+mn-lt"/>
                <a:ea typeface="+mn-ea"/>
                <a:cs typeface="+mn-cs"/>
              </a:defRPr>
            </a:lvl1pPr>
            <a:lvl2pPr marL="516400" indent="-257009">
              <a:spcBef>
                <a:spcPts val="0"/>
              </a:spcBef>
              <a:spcAft>
                <a:spcPts val="0"/>
              </a:spcAft>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0" indent="0">
              <a:spcBef>
                <a:spcPts val="0"/>
              </a:spcBef>
              <a:spcAft>
                <a:spcPts val="300"/>
              </a:spcAft>
              <a:buNone/>
              <a:defRPr sz="1500"/>
            </a:lvl3pPr>
            <a:lvl4pPr marL="0" indent="0">
              <a:spcBef>
                <a:spcPts val="0"/>
              </a:spcBef>
              <a:spcAft>
                <a:spcPts val="300"/>
              </a:spcAft>
              <a:buNone/>
              <a:defRPr/>
            </a:lvl4pPr>
            <a:lvl5pPr marL="257009" indent="-257009">
              <a:spcBef>
                <a:spcPts val="0"/>
              </a:spcBef>
              <a:spcAft>
                <a:spcPts val="300"/>
              </a:spcAft>
              <a:buFont typeface="Arial" pitchFamily="34" charset="0"/>
              <a:buChar char="•"/>
              <a:defRPr/>
            </a:lvl5pPr>
            <a:lvl6pPr marL="774586" indent="-257009">
              <a:buFont typeface="Arial" pitchFamily="34" charset="0"/>
              <a:buChar char="•"/>
              <a:defRPr sz="1800">
                <a:gradFill>
                  <a:gsLst>
                    <a:gs pos="0">
                      <a:srgbClr val="595959"/>
                    </a:gs>
                    <a:gs pos="86000">
                      <a:srgbClr val="595959"/>
                    </a:gs>
                  </a:gsLst>
                  <a:lin ang="5400000" scaled="0"/>
                </a:gradFill>
              </a:defRPr>
            </a:lvl6pPr>
            <a:lvl7pPr marL="941168" indent="-168958">
              <a:defRPr>
                <a:gradFill>
                  <a:gsLst>
                    <a:gs pos="0">
                      <a:srgbClr val="595959"/>
                    </a:gs>
                    <a:gs pos="86000">
                      <a:srgbClr val="595959"/>
                    </a:gs>
                  </a:gsLst>
                  <a:lin ang="5400000" scaled="0"/>
                </a:gradFill>
              </a:defRPr>
            </a:lvl7pPr>
            <a:lvl8pPr marL="1114882" indent="-173712">
              <a:defRPr>
                <a:gradFill>
                  <a:gsLst>
                    <a:gs pos="0">
                      <a:srgbClr val="595959"/>
                    </a:gs>
                    <a:gs pos="86000">
                      <a:srgbClr val="595959"/>
                    </a:gs>
                  </a:gsLst>
                  <a:lin ang="5400000" scaled="0"/>
                </a:gradFill>
              </a:defRPr>
            </a:lvl8pPr>
          </a:lstStyle>
          <a:p>
            <a:pPr marL="259382" lvl="0" indent="-259382" algn="l" defTabSz="685322" rtl="0" eaLnBrk="1" latinLnBrk="0" hangingPunct="1">
              <a:lnSpc>
                <a:spcPct val="90000"/>
              </a:lnSpc>
              <a:spcBef>
                <a:spcPct val="20000"/>
              </a:spcBef>
              <a:buSzPct val="90000"/>
              <a:buFont typeface="Arial" pitchFamily="34" charset="0"/>
              <a:buChar char="•"/>
            </a:pPr>
            <a:r>
              <a:rPr lang="en-US" smtClean="0"/>
              <a:t>Click to edit Master text styles</a:t>
            </a:r>
          </a:p>
          <a:p>
            <a:pPr marL="259382" lvl="1" indent="-259382" algn="l" defTabSz="685322" rtl="0" eaLnBrk="1" latinLnBrk="0" hangingPunct="1">
              <a:lnSpc>
                <a:spcPct val="90000"/>
              </a:lnSpc>
              <a:spcBef>
                <a:spcPct val="20000"/>
              </a:spcBef>
              <a:buSzPct val="90000"/>
              <a:buFont typeface="Arial" pitchFamily="34" charset="0"/>
              <a:buChar char="•"/>
            </a:pPr>
            <a:r>
              <a:rPr lang="en-US" smtClean="0"/>
              <a:t>Second level</a:t>
            </a:r>
          </a:p>
          <a:p>
            <a:pPr marL="259382" lvl="2" indent="-259382" algn="l" defTabSz="685322" rtl="0" eaLnBrk="1" latinLnBrk="0" hangingPunct="1">
              <a:lnSpc>
                <a:spcPct val="90000"/>
              </a:lnSpc>
              <a:spcBef>
                <a:spcPct val="20000"/>
              </a:spcBef>
              <a:buSzPct val="90000"/>
              <a:buFont typeface="Arial" pitchFamily="34" charset="0"/>
              <a:buChar char="•"/>
            </a:pPr>
            <a:r>
              <a:rPr lang="en-US" smtClean="0"/>
              <a:t>Third level</a:t>
            </a:r>
          </a:p>
          <a:p>
            <a:pPr marL="259382" lvl="3" indent="-259382" algn="l" defTabSz="685322" rtl="0" eaLnBrk="1" latinLnBrk="0" hangingPunct="1">
              <a:lnSpc>
                <a:spcPct val="90000"/>
              </a:lnSpc>
              <a:spcBef>
                <a:spcPct val="20000"/>
              </a:spcBef>
              <a:buSzPct val="90000"/>
              <a:buFont typeface="Arial" pitchFamily="34" charset="0"/>
              <a:buChar char="•"/>
            </a:pPr>
            <a:r>
              <a:rPr lang="en-US" smtClean="0"/>
              <a:t>Fourth level</a:t>
            </a:r>
          </a:p>
          <a:p>
            <a:pPr marL="259382" lvl="4" indent="-259382" algn="l" defTabSz="685322" rtl="0" eaLnBrk="1" latinLnBrk="0" hangingPunct="1">
              <a:lnSpc>
                <a:spcPct val="90000"/>
              </a:lnSpc>
              <a:spcBef>
                <a:spcPct val="20000"/>
              </a:spcBef>
              <a:buSzPct val="90000"/>
              <a:buFont typeface="Arial" pitchFamily="34" charset="0"/>
              <a:buChar char="•"/>
            </a:pPr>
            <a:r>
              <a:rPr lang="en-US" smtClean="0"/>
              <a:t>Fifth level</a:t>
            </a:r>
            <a:endParaRPr lang="en-US" dirty="0" smtClean="0"/>
          </a:p>
        </p:txBody>
      </p:sp>
      <p:pic>
        <p:nvPicPr>
          <p:cNvPr id="4" name="Picture 3"/>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849110517"/>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Content Placeholder 2"/>
          <p:cNvSpPr>
            <a:spLocks noGrp="1"/>
          </p:cNvSpPr>
          <p:nvPr>
            <p:ph sz="half" idx="1"/>
          </p:nvPr>
        </p:nvSpPr>
        <p:spPr>
          <a:xfrm>
            <a:off x="389436" y="1085850"/>
            <a:ext cx="4115872" cy="1832810"/>
          </a:xfrm>
        </p:spPr>
        <p:txBody>
          <a:bodyPr/>
          <a:lstStyle>
            <a:lvl1pPr marL="255819" indent="-255819">
              <a:lnSpc>
                <a:spcPct val="90000"/>
              </a:lnSpc>
              <a:buSzPct val="80000"/>
              <a:buFont typeface="Arial" pitchFamily="34" charset="0"/>
              <a:buChar char="•"/>
              <a:defRPr sz="2400"/>
            </a:lvl1pPr>
            <a:lvl2pPr marL="469989" indent="-214170">
              <a:lnSpc>
                <a:spcPct val="90000"/>
              </a:lnSpc>
              <a:buSzPct val="80000"/>
              <a:buFont typeface="Arial" pitchFamily="34" charset="0"/>
              <a:buChar char="•"/>
              <a:defRPr sz="2100"/>
            </a:lvl2pPr>
            <a:lvl3pPr marL="685349" indent="-215361">
              <a:lnSpc>
                <a:spcPct val="90000"/>
              </a:lnSpc>
              <a:buSzPct val="80000"/>
              <a:buFont typeface="Arial" pitchFamily="34" charset="0"/>
              <a:buChar char="•"/>
              <a:defRPr sz="1800"/>
            </a:lvl3pPr>
            <a:lvl4pPr marL="1283832" indent="-168958">
              <a:lnSpc>
                <a:spcPct val="90000"/>
              </a:lnSpc>
              <a:buSzPct val="80000"/>
              <a:buFont typeface="Arial" pitchFamily="34" charset="0"/>
              <a:buChar char="•"/>
              <a:defRPr sz="1500"/>
            </a:lvl4pPr>
            <a:lvl5pPr marL="1457555" indent="-173712">
              <a:lnSpc>
                <a:spcPct val="90000"/>
              </a:lnSpc>
              <a:buSzPct val="80000"/>
              <a:buFont typeface="Arial" pitchFamily="34" charset="0"/>
              <a:buChar char="•"/>
              <a:defRPr sz="15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37501" y="1085850"/>
            <a:ext cx="4115872" cy="1832810"/>
          </a:xfrm>
        </p:spPr>
        <p:txBody>
          <a:bodyPr/>
          <a:lstStyle>
            <a:lvl1pPr marL="342661" indent="-342661">
              <a:lnSpc>
                <a:spcPct val="90000"/>
              </a:lnSpc>
              <a:buSzPct val="80000"/>
              <a:buFont typeface="Arial" pitchFamily="34" charset="0"/>
              <a:buChar char="•"/>
              <a:defRPr lang="en-US" sz="2400" kern="1200" dirty="0" smtClean="0">
                <a:gradFill>
                  <a:gsLst>
                    <a:gs pos="0">
                      <a:srgbClr val="595959"/>
                    </a:gs>
                    <a:gs pos="86000">
                      <a:srgbClr val="595959"/>
                    </a:gs>
                  </a:gsLst>
                  <a:lin ang="5400000" scaled="0"/>
                </a:gradFill>
                <a:latin typeface="+mn-lt"/>
                <a:ea typeface="+mn-ea"/>
                <a:cs typeface="+mn-cs"/>
              </a:defRPr>
            </a:lvl1pPr>
            <a:lvl2pPr marL="598490" indent="-342661">
              <a:lnSpc>
                <a:spcPct val="90000"/>
              </a:lnSpc>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726998" indent="-257009">
              <a:lnSpc>
                <a:spcPct val="90000"/>
              </a:lnSpc>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371891" indent="-257009">
              <a:lnSpc>
                <a:spcPct val="90000"/>
              </a:lnSpc>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1540845" indent="-257009">
              <a:lnSpc>
                <a:spcPct val="90000"/>
              </a:lnSpc>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a:defRPr sz="1400"/>
            </a:lvl6pPr>
            <a:lvl7pPr>
              <a:defRPr sz="1400"/>
            </a:lvl7pPr>
            <a:lvl8pPr>
              <a:defRPr sz="1400"/>
            </a:lvl8pPr>
            <a:lvl9pPr>
              <a:defRPr sz="1400"/>
            </a:lvl9pPr>
          </a:lstStyle>
          <a:p>
            <a:pPr marL="255819" lvl="0" indent="-255819" algn="l" defTabSz="685322" rtl="0" eaLnBrk="1" latinLnBrk="0" hangingPunct="1">
              <a:lnSpc>
                <a:spcPct val="90000"/>
              </a:lnSpc>
              <a:spcBef>
                <a:spcPct val="20000"/>
              </a:spcBef>
              <a:buSzPct val="80000"/>
              <a:buFont typeface="Arial" pitchFamily="34" charset="0"/>
              <a:buChar char="•"/>
            </a:pPr>
            <a:r>
              <a:rPr lang="en-US" smtClean="0"/>
              <a:t>Click to edit Master text styles</a:t>
            </a:r>
          </a:p>
          <a:p>
            <a:pPr marL="255819" lvl="1" indent="-255819" algn="l" defTabSz="685322" rtl="0" eaLnBrk="1" latinLnBrk="0" hangingPunct="1">
              <a:lnSpc>
                <a:spcPct val="90000"/>
              </a:lnSpc>
              <a:spcBef>
                <a:spcPct val="20000"/>
              </a:spcBef>
              <a:buSzPct val="80000"/>
              <a:buFont typeface="Arial" pitchFamily="34" charset="0"/>
              <a:buChar char="•"/>
            </a:pPr>
            <a:r>
              <a:rPr lang="en-US" smtClean="0"/>
              <a:t>Second level</a:t>
            </a:r>
          </a:p>
          <a:p>
            <a:pPr marL="255819" lvl="2" indent="-255819" algn="l" defTabSz="685322" rtl="0" eaLnBrk="1" latinLnBrk="0" hangingPunct="1">
              <a:lnSpc>
                <a:spcPct val="90000"/>
              </a:lnSpc>
              <a:spcBef>
                <a:spcPct val="20000"/>
              </a:spcBef>
              <a:buSzPct val="80000"/>
              <a:buFont typeface="Arial" pitchFamily="34" charset="0"/>
              <a:buChar char="•"/>
            </a:pPr>
            <a:r>
              <a:rPr lang="en-US" smtClean="0"/>
              <a:t>Third level</a:t>
            </a:r>
          </a:p>
          <a:p>
            <a:pPr marL="255819" lvl="3" indent="-255819" algn="l" defTabSz="685322" rtl="0" eaLnBrk="1" latinLnBrk="0" hangingPunct="1">
              <a:lnSpc>
                <a:spcPct val="90000"/>
              </a:lnSpc>
              <a:spcBef>
                <a:spcPct val="20000"/>
              </a:spcBef>
              <a:buSzPct val="80000"/>
              <a:buFont typeface="Arial" pitchFamily="34" charset="0"/>
              <a:buChar char="•"/>
            </a:pPr>
            <a:r>
              <a:rPr lang="en-US" smtClean="0"/>
              <a:t>Fourth level</a:t>
            </a:r>
          </a:p>
          <a:p>
            <a:pPr marL="255819" lvl="4" indent="-255819" algn="l" defTabSz="685322" rtl="0" eaLnBrk="1" latinLnBrk="0" hangingPunct="1">
              <a:lnSpc>
                <a:spcPct val="90000"/>
              </a:lnSpc>
              <a:spcBef>
                <a:spcPct val="20000"/>
              </a:spcBef>
              <a:buSzPct val="80000"/>
              <a:buFont typeface="Arial" pitchFamily="34" charset="0"/>
              <a:buChar char="•"/>
            </a:pPr>
            <a:r>
              <a:rPr lang="en-US" smtClean="0"/>
              <a:t>Fifth level</a:t>
            </a:r>
            <a:endParaRPr lang="en-US" dirty="0"/>
          </a:p>
        </p:txBody>
      </p:sp>
      <p:pic>
        <p:nvPicPr>
          <p:cNvPr id="5" name="Picture 4"/>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683017970"/>
      </p:ext>
    </p:extLst>
  </p:cSld>
  <p:clrMapOvr>
    <a:masterClrMapping/>
  </p:clrMapOvr>
  <p:transition>
    <p:fade/>
  </p:transition>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sp>
        <p:nvSpPr>
          <p:cNvPr id="3" name="Text Placeholder 2"/>
          <p:cNvSpPr>
            <a:spLocks noGrp="1"/>
          </p:cNvSpPr>
          <p:nvPr>
            <p:ph type="body" idx="1"/>
          </p:nvPr>
        </p:nvSpPr>
        <p:spPr>
          <a:xfrm>
            <a:off x="389436"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381001" y="1700099"/>
            <a:ext cx="4114800" cy="1458861"/>
          </a:xfrm>
        </p:spPr>
        <p:txBody>
          <a:bodyPr/>
          <a:lstStyle>
            <a:lvl1pPr marL="302230" indent="-302230">
              <a:buSzPct val="80000"/>
              <a:buFont typeface="Arial" pitchFamily="34" charset="0"/>
              <a:buChar char="•"/>
              <a:defRPr sz="2100"/>
            </a:lvl1pPr>
            <a:lvl2pPr marL="558023" indent="-241539">
              <a:buSzPct val="80000"/>
              <a:buFont typeface="Arial" pitchFamily="34" charset="0"/>
              <a:buChar char="•"/>
              <a:defRPr sz="2100"/>
            </a:lvl2pPr>
            <a:lvl3pPr marL="769829" indent="-211789" defTabSz="772199">
              <a:buSzPct val="80000"/>
              <a:buFont typeface="Arial" pitchFamily="34" charset="0"/>
              <a:buChar char="•"/>
              <a:defRPr sz="1800"/>
            </a:lvl3pPr>
            <a:lvl4pPr marL="987562" indent="-215361">
              <a:buSzPct val="80000"/>
              <a:buFont typeface="Arial" pitchFamily="34" charset="0"/>
              <a:buChar char="•"/>
              <a:defRPr sz="1500"/>
            </a:lvl4pPr>
            <a:lvl5pPr marL="1155339" indent="-167768">
              <a:buSzPct val="80000"/>
              <a:buFont typeface="Arial" pitchFamily="34" charset="0"/>
              <a:buChar char="•"/>
              <a:defRPr sz="15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37501" y="1085869"/>
            <a:ext cx="4115872" cy="332399"/>
          </a:xfrm>
        </p:spPr>
        <p:txBody>
          <a:bodyPr anchor="b"/>
          <a:lstStyle>
            <a:lvl1pPr marL="0" indent="0">
              <a:lnSpc>
                <a:spcPct val="90000"/>
              </a:lnSpc>
              <a:spcBef>
                <a:spcPts val="0"/>
              </a:spcBef>
              <a:buNone/>
              <a:defRPr sz="2400" b="0">
                <a:latin typeface="Segoe UI Light" pitchFamily="34" charset="0"/>
              </a:defRPr>
            </a:lvl1pPr>
            <a:lvl2pPr marL="342649" indent="0">
              <a:buNone/>
              <a:defRPr sz="1500" b="1"/>
            </a:lvl2pPr>
            <a:lvl3pPr marL="685322" indent="0">
              <a:buNone/>
              <a:defRPr sz="1400" b="1"/>
            </a:lvl3pPr>
            <a:lvl4pPr marL="1027979" indent="0">
              <a:buNone/>
              <a:defRPr sz="1200" b="1"/>
            </a:lvl4pPr>
            <a:lvl5pPr marL="1370645" indent="0">
              <a:buNone/>
              <a:defRPr sz="1200" b="1"/>
            </a:lvl5pPr>
            <a:lvl6pPr marL="1713294" indent="0">
              <a:buNone/>
              <a:defRPr sz="1200" b="1"/>
            </a:lvl6pPr>
            <a:lvl7pPr marL="2055963" indent="0">
              <a:buNone/>
              <a:defRPr sz="1200" b="1"/>
            </a:lvl7pPr>
            <a:lvl8pPr marL="2398624" indent="0">
              <a:buNone/>
              <a:defRPr sz="1200" b="1"/>
            </a:lvl8pPr>
            <a:lvl9pPr marL="2741288"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37501" y="1700099"/>
            <a:ext cx="4115872" cy="1458861"/>
          </a:xfrm>
        </p:spPr>
        <p:txBody>
          <a:bodyPr/>
          <a:lstStyle>
            <a:lvl1pPr marL="222099" indent="-222099">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1pPr>
            <a:lvl2pPr marL="342661" indent="-342661">
              <a:buSzPct val="80000"/>
              <a:buFont typeface="Arial" pitchFamily="34" charset="0"/>
              <a:buChar char="•"/>
              <a:defRPr lang="en-US" sz="2100" kern="1200" dirty="0" smtClean="0">
                <a:gradFill>
                  <a:gsLst>
                    <a:gs pos="0">
                      <a:srgbClr val="595959"/>
                    </a:gs>
                    <a:gs pos="86000">
                      <a:srgbClr val="595959"/>
                    </a:gs>
                  </a:gsLst>
                  <a:lin ang="5400000" scaled="0"/>
                </a:gradFill>
                <a:latin typeface="+mn-lt"/>
                <a:ea typeface="+mn-ea"/>
                <a:cs typeface="+mn-cs"/>
              </a:defRPr>
            </a:lvl2pPr>
            <a:lvl3pPr marL="573502" indent="-257009">
              <a:buSzPct val="80000"/>
              <a:buFont typeface="Arial" pitchFamily="34" charset="0"/>
              <a:buChar char="•"/>
              <a:defRPr lang="en-US" sz="1800" kern="1200" dirty="0" smtClean="0">
                <a:gradFill>
                  <a:gsLst>
                    <a:gs pos="0">
                      <a:srgbClr val="595959"/>
                    </a:gs>
                    <a:gs pos="86000">
                      <a:srgbClr val="595959"/>
                    </a:gs>
                  </a:gsLst>
                  <a:lin ang="5400000" scaled="0"/>
                </a:gradFill>
                <a:latin typeface="+mn-lt"/>
                <a:ea typeface="+mn-ea"/>
                <a:cs typeface="+mn-cs"/>
              </a:defRPr>
            </a:lvl3pPr>
            <a:lvl4pPr marL="1029211" indent="-257009">
              <a:buSzPct val="80000"/>
              <a:buFont typeface="Arial" pitchFamily="34" charset="0"/>
              <a:buChar char="•"/>
              <a:defRPr lang="en-US" sz="1500" kern="1200" dirty="0" smtClean="0">
                <a:gradFill>
                  <a:gsLst>
                    <a:gs pos="0">
                      <a:srgbClr val="595959"/>
                    </a:gs>
                    <a:gs pos="86000">
                      <a:srgbClr val="595959"/>
                    </a:gs>
                  </a:gsLst>
                  <a:lin ang="5400000" scaled="0"/>
                </a:gradFill>
                <a:latin typeface="+mn-lt"/>
                <a:ea typeface="+mn-ea"/>
                <a:cs typeface="+mn-cs"/>
              </a:defRPr>
            </a:lvl4pPr>
            <a:lvl5pPr marL="815041" indent="-257009">
              <a:buSzPct val="80000"/>
              <a:buFont typeface="Arial" pitchFamily="34" charset="0"/>
              <a:buChar char="•"/>
              <a:defRPr lang="en-US" sz="1500" kern="1200" dirty="0">
                <a:gradFill>
                  <a:gsLst>
                    <a:gs pos="0">
                      <a:srgbClr val="595959"/>
                    </a:gs>
                    <a:gs pos="86000">
                      <a:srgbClr val="595959"/>
                    </a:gs>
                  </a:gsLst>
                  <a:lin ang="5400000" scaled="0"/>
                </a:gradFill>
                <a:latin typeface="+mn-lt"/>
                <a:ea typeface="+mn-ea"/>
                <a:cs typeface="+mn-cs"/>
              </a:defRPr>
            </a:lvl5pPr>
            <a:lvl6pPr marL="1029211" indent="-257009">
              <a:defRPr sz="1200"/>
            </a:lvl6pPr>
            <a:lvl7pPr marL="1201742" indent="-214170">
              <a:defRPr sz="1200"/>
            </a:lvl7pPr>
            <a:lvl8pPr>
              <a:defRPr sz="1200"/>
            </a:lvl8pPr>
            <a:lvl9pPr>
              <a:defRPr sz="1200"/>
            </a:lvl9pPr>
          </a:lstStyle>
          <a:p>
            <a:pPr marL="302230" lvl="0" indent="-302230" algn="l" defTabSz="685322" rtl="0" eaLnBrk="1" latinLnBrk="0" hangingPunct="1">
              <a:lnSpc>
                <a:spcPct val="90000"/>
              </a:lnSpc>
              <a:spcBef>
                <a:spcPct val="20000"/>
              </a:spcBef>
              <a:buSzPct val="80000"/>
            </a:pPr>
            <a:r>
              <a:rPr lang="en-US" smtClean="0"/>
              <a:t>Click to edit Master text styles</a:t>
            </a:r>
          </a:p>
          <a:p>
            <a:pPr marL="302230" lvl="1" indent="-302230" algn="l" defTabSz="685322" rtl="0" eaLnBrk="1" latinLnBrk="0" hangingPunct="1">
              <a:lnSpc>
                <a:spcPct val="90000"/>
              </a:lnSpc>
              <a:spcBef>
                <a:spcPct val="20000"/>
              </a:spcBef>
              <a:buSzPct val="80000"/>
            </a:pPr>
            <a:r>
              <a:rPr lang="en-US" smtClean="0"/>
              <a:t>Second level</a:t>
            </a:r>
          </a:p>
          <a:p>
            <a:pPr marL="302230" lvl="2" indent="-302230" algn="l" defTabSz="685322" rtl="0" eaLnBrk="1" latinLnBrk="0" hangingPunct="1">
              <a:lnSpc>
                <a:spcPct val="90000"/>
              </a:lnSpc>
              <a:spcBef>
                <a:spcPct val="20000"/>
              </a:spcBef>
              <a:buSzPct val="80000"/>
            </a:pPr>
            <a:r>
              <a:rPr lang="en-US" smtClean="0"/>
              <a:t>Third level</a:t>
            </a:r>
          </a:p>
          <a:p>
            <a:pPr marL="302230" lvl="3" indent="-302230" algn="l" defTabSz="685322" rtl="0" eaLnBrk="1" latinLnBrk="0" hangingPunct="1">
              <a:lnSpc>
                <a:spcPct val="90000"/>
              </a:lnSpc>
              <a:spcBef>
                <a:spcPct val="20000"/>
              </a:spcBef>
              <a:buSzPct val="80000"/>
            </a:pPr>
            <a:r>
              <a:rPr lang="en-US" smtClean="0"/>
              <a:t>Fourth level</a:t>
            </a:r>
          </a:p>
          <a:p>
            <a:pPr marL="302230" lvl="4" indent="-302230" algn="l" defTabSz="685322" rtl="0" eaLnBrk="1" latinLnBrk="0" hangingPunct="1">
              <a:lnSpc>
                <a:spcPct val="90000"/>
              </a:lnSpc>
              <a:spcBef>
                <a:spcPct val="20000"/>
              </a:spcBef>
              <a:buSzPct val="80000"/>
            </a:pPr>
            <a:r>
              <a:rPr lang="en-US" smtClean="0"/>
              <a:t>Fifth level</a:t>
            </a:r>
            <a:endParaRPr lang="en-US" dirty="0"/>
          </a:p>
        </p:txBody>
      </p:sp>
      <p:pic>
        <p:nvPicPr>
          <p:cNvPr id="7" name="Picture 6"/>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3055298822"/>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56"/>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60"/>
            <a:ext cx="3154788" cy="346249"/>
          </a:xfrm>
        </p:spPr>
        <p:txBody>
          <a:bodyPr>
            <a:noAutofit/>
          </a:bodyPr>
          <a:lstStyle>
            <a:lvl1pPr marL="0" indent="0" algn="l" defTabSz="685693"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844" indent="0" algn="ctr">
              <a:buNone/>
              <a:defRPr>
                <a:solidFill>
                  <a:schemeClr val="tx1">
                    <a:tint val="75000"/>
                  </a:schemeClr>
                </a:solidFill>
              </a:defRPr>
            </a:lvl2pPr>
            <a:lvl3pPr marL="685693" indent="0" algn="ctr">
              <a:buNone/>
              <a:defRPr>
                <a:solidFill>
                  <a:schemeClr val="tx1">
                    <a:tint val="75000"/>
                  </a:schemeClr>
                </a:solidFill>
              </a:defRPr>
            </a:lvl3pPr>
            <a:lvl4pPr marL="1028538" indent="0" algn="ctr">
              <a:buNone/>
              <a:defRPr>
                <a:solidFill>
                  <a:schemeClr val="tx1">
                    <a:tint val="75000"/>
                  </a:schemeClr>
                </a:solidFill>
              </a:defRPr>
            </a:lvl4pPr>
            <a:lvl5pPr marL="1371386" indent="0" algn="ctr">
              <a:buNone/>
              <a:defRPr>
                <a:solidFill>
                  <a:schemeClr val="tx1">
                    <a:tint val="75000"/>
                  </a:schemeClr>
                </a:solidFill>
              </a:defRPr>
            </a:lvl5pPr>
            <a:lvl6pPr marL="1714228" indent="0" algn="ctr">
              <a:buNone/>
              <a:defRPr>
                <a:solidFill>
                  <a:schemeClr val="tx1">
                    <a:tint val="75000"/>
                  </a:schemeClr>
                </a:solidFill>
              </a:defRPr>
            </a:lvl6pPr>
            <a:lvl7pPr marL="2057078" indent="0" algn="ctr">
              <a:buNone/>
              <a:defRPr>
                <a:solidFill>
                  <a:schemeClr val="tx1">
                    <a:tint val="75000"/>
                  </a:schemeClr>
                </a:solidFill>
              </a:defRPr>
            </a:lvl7pPr>
            <a:lvl8pPr marL="2399924" indent="0" algn="ctr">
              <a:buNone/>
              <a:defRPr>
                <a:solidFill>
                  <a:schemeClr val="tx1">
                    <a:tint val="75000"/>
                  </a:schemeClr>
                </a:solidFill>
              </a:defRPr>
            </a:lvl8pPr>
            <a:lvl9pPr marL="2742771"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559917533"/>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lvl1pPr>
              <a:defRPr sz="4100"/>
            </a:lvl1pPr>
          </a:lstStyle>
          <a:p>
            <a:r>
              <a:rPr lang="en-US" smtClean="0"/>
              <a:t>Click to edit Master title style</a:t>
            </a:r>
            <a:endParaRPr lang="en-US" dirty="0"/>
          </a:p>
        </p:txBody>
      </p:sp>
      <p:pic>
        <p:nvPicPr>
          <p:cNvPr id="3" name="Picture 2"/>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2613541128"/>
      </p:ext>
    </p:extLst>
  </p:cSld>
  <p:clrMapOvr>
    <a:masterClrMapping/>
  </p:clrMapOvr>
  <p:transition>
    <p:fade/>
  </p:transition>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duotone>
              <a:prstClr val="black"/>
              <a:schemeClr val="tx2">
                <a:tint val="45000"/>
                <a:satMod val="400000"/>
              </a:schemeClr>
            </a:duotone>
            <a:extLst>
              <a:ext uri="{BEBA8EAE-BF5A-486C-A8C5-ECC9F3942E4B}">
                <a14:imgProps xmlns:a14="http://schemas.microsoft.com/office/drawing/2010/main">
                  <a14:imgLayer r:embed="rId3">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389122" y="4779411"/>
            <a:ext cx="1261769" cy="146626"/>
          </a:xfrm>
          <a:prstGeom prst="rect">
            <a:avLst/>
          </a:prstGeom>
        </p:spPr>
      </p:pic>
    </p:spTree>
    <p:extLst>
      <p:ext uri="{BB962C8B-B14F-4D97-AF65-F5344CB8AC3E}">
        <p14:creationId xmlns:p14="http://schemas.microsoft.com/office/powerpoint/2010/main" val="479525201"/>
      </p:ext>
    </p:extLst>
  </p:cSld>
  <p:clrMapOvr>
    <a:masterClrMapping/>
  </p:clrMapOvr>
  <p:transition>
    <p:fade/>
  </p:transition>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89436" y="1085850"/>
            <a:ext cx="8363937" cy="3886200"/>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05" tIns="34253" rIns="68505" bIns="34253" numCol="1" spcCol="0" rtlCol="0" anchor="ctr" anchorCtr="0" compatLnSpc="1">
            <a:prstTxWarp prst="textNoShape">
              <a:avLst/>
            </a:prstTxWarp>
          </a:bodyPr>
          <a:lstStyle/>
          <a:p>
            <a:pPr algn="ctr" defTabSz="684891"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685322" rtl="0" eaLnBrk="1" latinLnBrk="0" hangingPunct="1">
              <a:lnSpc>
                <a:spcPct val="90000"/>
              </a:lnSpc>
              <a:spcBef>
                <a:spcPct val="0"/>
              </a:spcBef>
              <a:buNone/>
              <a:defRPr lang="en-US" sz="4100" b="0" kern="1200" cap="none" spc="-75"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2606032" y="2563257"/>
            <a:ext cx="5210341" cy="931409"/>
          </a:xfrm>
        </p:spPr>
        <p:txBody>
          <a:bodyPr lIns="137064" tIns="137064" anchor="ctr" anchorCtr="0"/>
          <a:lstStyle>
            <a:lvl1pPr marL="430722" indent="-428340">
              <a:spcAft>
                <a:spcPts val="900"/>
              </a:spcAft>
              <a:buNone/>
              <a:defRPr lang="en-US" sz="3300" kern="1200" spc="-75" baseline="0" dirty="0" smtClean="0">
                <a:gradFill>
                  <a:gsLst>
                    <a:gs pos="0">
                      <a:srgbClr val="595959"/>
                    </a:gs>
                    <a:gs pos="86000">
                      <a:srgbClr val="595959"/>
                    </a:gs>
                  </a:gsLst>
                  <a:lin ang="5400000" scaled="0"/>
                </a:gradFill>
                <a:latin typeface="Segoe UI Light" pitchFamily="34" charset="0"/>
                <a:ea typeface="+mn-ea"/>
                <a:cs typeface="+mn-cs"/>
              </a:defRPr>
            </a:lvl1pPr>
            <a:lvl2pPr marL="259382" indent="-257009">
              <a:buFont typeface="Arial" pitchFamily="34" charset="0"/>
              <a:buNone/>
              <a:defRPr lang="en-US" sz="1800" kern="1200" spc="-38" baseline="0" dirty="0">
                <a:gradFill>
                  <a:gsLst>
                    <a:gs pos="0">
                      <a:srgbClr val="595959"/>
                    </a:gs>
                    <a:gs pos="86000">
                      <a:srgbClr val="595959"/>
                    </a:gs>
                  </a:gsLst>
                  <a:lin ang="5400000" scaled="0"/>
                </a:gradFill>
                <a:latin typeface="+mn-lt"/>
                <a:ea typeface="+mn-ea"/>
                <a:cs typeface="+mn-cs"/>
              </a:defRPr>
            </a:lvl2pPr>
          </a:lstStyle>
          <a:p>
            <a:pPr marL="2382" lvl="0" indent="0" algn="l" defTabSz="685322" rtl="0" eaLnBrk="1" latinLnBrk="0" hangingPunct="1">
              <a:lnSpc>
                <a:spcPct val="90000"/>
              </a:lnSpc>
              <a:spcBef>
                <a:spcPts val="0"/>
              </a:spcBef>
              <a:spcAft>
                <a:spcPts val="675"/>
              </a:spcAft>
              <a:buSzPct val="80000"/>
            </a:pPr>
            <a:r>
              <a:rPr lang="en-US" smtClean="0"/>
              <a:t>Click to edit Master text styles</a:t>
            </a:r>
          </a:p>
          <a:p>
            <a:pPr marL="2382" lvl="1" indent="0" algn="l" defTabSz="685322" rtl="0" eaLnBrk="1" latinLnBrk="0" hangingPunct="1">
              <a:lnSpc>
                <a:spcPct val="90000"/>
              </a:lnSpc>
              <a:spcBef>
                <a:spcPts val="0"/>
              </a:spcBef>
              <a:spcAft>
                <a:spcPts val="675"/>
              </a:spcAft>
              <a:buSzPct val="80000"/>
            </a:pPr>
            <a:r>
              <a:rPr lang="en-US" smtClean="0"/>
              <a:t>Second level</a:t>
            </a:r>
          </a:p>
        </p:txBody>
      </p:sp>
      <p:sp>
        <p:nvSpPr>
          <p:cNvPr id="18" name="Freeform 105"/>
          <p:cNvSpPr>
            <a:spLocks/>
          </p:cNvSpPr>
          <p:nvPr userDrawn="1"/>
        </p:nvSpPr>
        <p:spPr bwMode="black">
          <a:xfrm>
            <a:off x="900364" y="1600200"/>
            <a:ext cx="1399159" cy="2857500"/>
          </a:xfrm>
          <a:custGeom>
            <a:avLst/>
            <a:gdLst>
              <a:gd name="T0" fmla="*/ 38 w 42"/>
              <a:gd name="T1" fmla="*/ 23 h 86"/>
              <a:gd name="T2" fmla="*/ 35 w 42"/>
              <a:gd name="T3" fmla="*/ 27 h 86"/>
              <a:gd name="T4" fmla="*/ 35 w 42"/>
              <a:gd name="T5" fmla="*/ 65 h 86"/>
              <a:gd name="T6" fmla="*/ 21 w 42"/>
              <a:gd name="T7" fmla="*/ 79 h 86"/>
              <a:gd name="T8" fmla="*/ 7 w 42"/>
              <a:gd name="T9" fmla="*/ 65 h 86"/>
              <a:gd name="T10" fmla="*/ 7 w 42"/>
              <a:gd name="T11" fmla="*/ 16 h 86"/>
              <a:gd name="T12" fmla="*/ 16 w 42"/>
              <a:gd name="T13" fmla="*/ 7 h 86"/>
              <a:gd name="T14" fmla="*/ 25 w 42"/>
              <a:gd name="T15" fmla="*/ 16 h 86"/>
              <a:gd name="T16" fmla="*/ 25 w 42"/>
              <a:gd name="T17" fmla="*/ 16 h 86"/>
              <a:gd name="T18" fmla="*/ 25 w 42"/>
              <a:gd name="T19" fmla="*/ 54 h 86"/>
              <a:gd name="T20" fmla="*/ 22 w 42"/>
              <a:gd name="T21" fmla="*/ 58 h 86"/>
              <a:gd name="T22" fmla="*/ 18 w 42"/>
              <a:gd name="T23" fmla="*/ 54 h 86"/>
              <a:gd name="T24" fmla="*/ 18 w 42"/>
              <a:gd name="T25" fmla="*/ 25 h 86"/>
              <a:gd name="T26" fmla="*/ 14 w 42"/>
              <a:gd name="T27" fmla="*/ 22 h 86"/>
              <a:gd name="T28" fmla="*/ 11 w 42"/>
              <a:gd name="T29" fmla="*/ 25 h 86"/>
              <a:gd name="T30" fmla="*/ 11 w 42"/>
              <a:gd name="T31" fmla="*/ 54 h 86"/>
              <a:gd name="T32" fmla="*/ 22 w 42"/>
              <a:gd name="T33" fmla="*/ 65 h 86"/>
              <a:gd name="T34" fmla="*/ 32 w 42"/>
              <a:gd name="T35" fmla="*/ 54 h 86"/>
              <a:gd name="T36" fmla="*/ 32 w 42"/>
              <a:gd name="T37" fmla="*/ 16 h 86"/>
              <a:gd name="T38" fmla="*/ 32 w 42"/>
              <a:gd name="T39" fmla="*/ 16 h 86"/>
              <a:gd name="T40" fmla="*/ 16 w 42"/>
              <a:gd name="T41" fmla="*/ 0 h 86"/>
              <a:gd name="T42" fmla="*/ 0 w 42"/>
              <a:gd name="T43" fmla="*/ 16 h 86"/>
              <a:gd name="T44" fmla="*/ 0 w 42"/>
              <a:gd name="T45" fmla="*/ 65 h 86"/>
              <a:gd name="T46" fmla="*/ 21 w 42"/>
              <a:gd name="T47" fmla="*/ 86 h 86"/>
              <a:gd name="T48" fmla="*/ 42 w 42"/>
              <a:gd name="T49" fmla="*/ 65 h 86"/>
              <a:gd name="T50" fmla="*/ 42 w 42"/>
              <a:gd name="T51" fmla="*/ 65 h 86"/>
              <a:gd name="T52" fmla="*/ 42 w 42"/>
              <a:gd name="T53" fmla="*/ 27 h 86"/>
              <a:gd name="T54" fmla="*/ 38 w 42"/>
              <a:gd name="T55" fmla="*/ 23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2" h="86">
                <a:moveTo>
                  <a:pt x="38" y="23"/>
                </a:moveTo>
                <a:cubicBezTo>
                  <a:pt x="36" y="23"/>
                  <a:pt x="35" y="25"/>
                  <a:pt x="35" y="27"/>
                </a:cubicBezTo>
                <a:cubicBezTo>
                  <a:pt x="35" y="65"/>
                  <a:pt x="35" y="65"/>
                  <a:pt x="35" y="65"/>
                </a:cubicBezTo>
                <a:cubicBezTo>
                  <a:pt x="35" y="73"/>
                  <a:pt x="29" y="79"/>
                  <a:pt x="21" y="79"/>
                </a:cubicBezTo>
                <a:cubicBezTo>
                  <a:pt x="13" y="79"/>
                  <a:pt x="7" y="73"/>
                  <a:pt x="7" y="65"/>
                </a:cubicBezTo>
                <a:cubicBezTo>
                  <a:pt x="7" y="16"/>
                  <a:pt x="7" y="16"/>
                  <a:pt x="7" y="16"/>
                </a:cubicBezTo>
                <a:cubicBezTo>
                  <a:pt x="7" y="11"/>
                  <a:pt x="11" y="7"/>
                  <a:pt x="16" y="7"/>
                </a:cubicBezTo>
                <a:cubicBezTo>
                  <a:pt x="21" y="7"/>
                  <a:pt x="25" y="11"/>
                  <a:pt x="25" y="16"/>
                </a:cubicBezTo>
                <a:cubicBezTo>
                  <a:pt x="25" y="16"/>
                  <a:pt x="25" y="16"/>
                  <a:pt x="25" y="16"/>
                </a:cubicBezTo>
                <a:cubicBezTo>
                  <a:pt x="25" y="54"/>
                  <a:pt x="25" y="54"/>
                  <a:pt x="25" y="54"/>
                </a:cubicBezTo>
                <a:cubicBezTo>
                  <a:pt x="25" y="56"/>
                  <a:pt x="23" y="58"/>
                  <a:pt x="22" y="58"/>
                </a:cubicBezTo>
                <a:cubicBezTo>
                  <a:pt x="20" y="58"/>
                  <a:pt x="18" y="56"/>
                  <a:pt x="18" y="54"/>
                </a:cubicBezTo>
                <a:cubicBezTo>
                  <a:pt x="18" y="25"/>
                  <a:pt x="18" y="25"/>
                  <a:pt x="18" y="25"/>
                </a:cubicBezTo>
                <a:cubicBezTo>
                  <a:pt x="18" y="23"/>
                  <a:pt x="16" y="22"/>
                  <a:pt x="14" y="22"/>
                </a:cubicBezTo>
                <a:cubicBezTo>
                  <a:pt x="12" y="22"/>
                  <a:pt x="11" y="23"/>
                  <a:pt x="11" y="25"/>
                </a:cubicBezTo>
                <a:cubicBezTo>
                  <a:pt x="11" y="54"/>
                  <a:pt x="11" y="54"/>
                  <a:pt x="11" y="54"/>
                </a:cubicBezTo>
                <a:cubicBezTo>
                  <a:pt x="11" y="60"/>
                  <a:pt x="16" y="65"/>
                  <a:pt x="22" y="65"/>
                </a:cubicBezTo>
                <a:cubicBezTo>
                  <a:pt x="27" y="65"/>
                  <a:pt x="32" y="60"/>
                  <a:pt x="32" y="54"/>
                </a:cubicBezTo>
                <a:cubicBezTo>
                  <a:pt x="32" y="16"/>
                  <a:pt x="32" y="16"/>
                  <a:pt x="32" y="16"/>
                </a:cubicBezTo>
                <a:cubicBezTo>
                  <a:pt x="32" y="16"/>
                  <a:pt x="32" y="16"/>
                  <a:pt x="32" y="16"/>
                </a:cubicBezTo>
                <a:cubicBezTo>
                  <a:pt x="32" y="7"/>
                  <a:pt x="25" y="0"/>
                  <a:pt x="16" y="0"/>
                </a:cubicBezTo>
                <a:cubicBezTo>
                  <a:pt x="7" y="0"/>
                  <a:pt x="0" y="7"/>
                  <a:pt x="0" y="16"/>
                </a:cubicBezTo>
                <a:cubicBezTo>
                  <a:pt x="0" y="65"/>
                  <a:pt x="0" y="65"/>
                  <a:pt x="0" y="65"/>
                </a:cubicBezTo>
                <a:cubicBezTo>
                  <a:pt x="0" y="77"/>
                  <a:pt x="10" y="86"/>
                  <a:pt x="21" y="86"/>
                </a:cubicBezTo>
                <a:cubicBezTo>
                  <a:pt x="33" y="86"/>
                  <a:pt x="42" y="77"/>
                  <a:pt x="42" y="65"/>
                </a:cubicBezTo>
                <a:cubicBezTo>
                  <a:pt x="42" y="65"/>
                  <a:pt x="42" y="65"/>
                  <a:pt x="42" y="65"/>
                </a:cubicBezTo>
                <a:cubicBezTo>
                  <a:pt x="42" y="27"/>
                  <a:pt x="42" y="27"/>
                  <a:pt x="42" y="27"/>
                </a:cubicBezTo>
                <a:cubicBezTo>
                  <a:pt x="42" y="25"/>
                  <a:pt x="40" y="23"/>
                  <a:pt x="38" y="23"/>
                </a:cubicBezTo>
              </a:path>
            </a:pathLst>
          </a:custGeom>
          <a:solidFill>
            <a:schemeClr val="accent2"/>
          </a:solidFill>
          <a:ln>
            <a:noFill/>
          </a:ln>
          <a:extLst/>
        </p:spPr>
        <p:txBody>
          <a:bodyPr vert="horz" wrap="square" lIns="61681" tIns="30840" rIns="61681" bIns="30840" numCol="1" anchor="t" anchorCtr="0" compatLnSpc="1">
            <a:prstTxWarp prst="textNoShape">
              <a:avLst/>
            </a:prstTxWarp>
          </a:bodyPr>
          <a:lstStyle/>
          <a:p>
            <a:pPr defTabSz="913640"/>
            <a:endParaRPr lang="en-US" sz="1200">
              <a:solidFill>
                <a:srgbClr val="292929"/>
              </a:solidFill>
            </a:endParaRPr>
          </a:p>
        </p:txBody>
      </p:sp>
    </p:spTree>
    <p:extLst>
      <p:ext uri="{BB962C8B-B14F-4D97-AF65-F5344CB8AC3E}">
        <p14:creationId xmlns:p14="http://schemas.microsoft.com/office/powerpoint/2010/main" val="244495855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5786545" y="1602037"/>
            <a:ext cx="2625030" cy="1585544"/>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2231596290"/>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6220604" y="1506070"/>
            <a:ext cx="1702251" cy="1627208"/>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32" tIns="34267" rIns="68532" bIns="34267" numCol="1" anchor="t" anchorCtr="0" compatLnSpc="1">
            <a:prstTxWarp prst="textNoShape">
              <a:avLst/>
            </a:prstTxWarp>
          </a:bodyPr>
          <a:lstStyle/>
          <a:p>
            <a:pPr defTabSz="685322"/>
            <a:endParaRPr lang="en-US" sz="1400">
              <a:solidFill>
                <a:srgbClr val="292929"/>
              </a:solidFill>
            </a:endParaRPr>
          </a:p>
        </p:txBody>
      </p:sp>
    </p:spTree>
    <p:extLst>
      <p:ext uri="{BB962C8B-B14F-4D97-AF65-F5344CB8AC3E}">
        <p14:creationId xmlns:p14="http://schemas.microsoft.com/office/powerpoint/2010/main" val="2644188348"/>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5929973" y="1682217"/>
            <a:ext cx="2383306" cy="1450967"/>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685322"/>
              <a:endParaRPr lang="en-US" sz="1200">
                <a:solidFill>
                  <a:srgbClr val="292929"/>
                </a:solidFill>
              </a:endParaRPr>
            </a:p>
          </p:txBody>
        </p:sp>
      </p:grpSp>
    </p:spTree>
    <p:extLst>
      <p:ext uri="{BB962C8B-B14F-4D97-AF65-F5344CB8AC3E}">
        <p14:creationId xmlns:p14="http://schemas.microsoft.com/office/powerpoint/2010/main" val="1972586623"/>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5944255" y="1449454"/>
            <a:ext cx="2260588" cy="1735682"/>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61681" tIns="30840" rIns="61681" bIns="30840" numCol="1" anchor="t" anchorCtr="0" compatLnSpc="1">
            <a:prstTxWarp prst="textNoShape">
              <a:avLst/>
            </a:prstTxWarp>
          </a:bodyPr>
          <a:lstStyle/>
          <a:p>
            <a:pPr defTabSz="685322"/>
            <a:endParaRPr lang="en-US" sz="1200">
              <a:solidFill>
                <a:srgbClr val="292929"/>
              </a:solidFill>
            </a:endParaRPr>
          </a:p>
        </p:txBody>
      </p:sp>
    </p:spTree>
    <p:extLst>
      <p:ext uri="{BB962C8B-B14F-4D97-AF65-F5344CB8AC3E}">
        <p14:creationId xmlns:p14="http://schemas.microsoft.com/office/powerpoint/2010/main" val="2332511534"/>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17213" y="1085869"/>
            <a:ext cx="3154788" cy="1142621"/>
          </a:xfrm>
        </p:spPr>
        <p:txBody>
          <a:bodyPr anchor="ctr" anchorCtr="0">
            <a:noAutofit/>
          </a:bodyPr>
          <a:lstStyle>
            <a:lvl1pPr>
              <a:lnSpc>
                <a:spcPct val="90000"/>
              </a:lnSpc>
              <a:defRPr sz="3600"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417213" y="4222873"/>
            <a:ext cx="3154788" cy="346249"/>
          </a:xfrm>
        </p:spPr>
        <p:txBody>
          <a:bodyPr>
            <a:noAutofit/>
          </a:bodyPr>
          <a:lstStyle>
            <a:lvl1pPr marL="0" indent="0" algn="l" defTabSz="685322" rtl="0" eaLnBrk="1" latinLnBrk="0" hangingPunct="1">
              <a:lnSpc>
                <a:spcPct val="90000"/>
              </a:lnSpc>
              <a:spcBef>
                <a:spcPts val="0"/>
              </a:spcBef>
              <a:buSzPct val="80000"/>
              <a:buFont typeface="Arial" pitchFamily="34" charset="0"/>
              <a:buNone/>
              <a:defRPr lang="en-US" sz="1800" kern="1200" dirty="0">
                <a:solidFill>
                  <a:schemeClr val="bg1">
                    <a:alpha val="99000"/>
                  </a:schemeClr>
                </a:solidFill>
                <a:latin typeface="+mn-lt"/>
                <a:ea typeface="+mn-ea"/>
                <a:cs typeface="+mn-cs"/>
              </a:defRPr>
            </a:lvl1pPr>
            <a:lvl2pPr marL="342649" indent="0" algn="ctr">
              <a:buNone/>
              <a:defRPr>
                <a:solidFill>
                  <a:schemeClr val="tx1">
                    <a:tint val="75000"/>
                  </a:schemeClr>
                </a:solidFill>
              </a:defRPr>
            </a:lvl2pPr>
            <a:lvl3pPr marL="685322" indent="0" algn="ctr">
              <a:buNone/>
              <a:defRPr>
                <a:solidFill>
                  <a:schemeClr val="tx1">
                    <a:tint val="75000"/>
                  </a:schemeClr>
                </a:solidFill>
              </a:defRPr>
            </a:lvl3pPr>
            <a:lvl4pPr marL="1027979" indent="0" algn="ctr">
              <a:buNone/>
              <a:defRPr>
                <a:solidFill>
                  <a:schemeClr val="tx1">
                    <a:tint val="75000"/>
                  </a:schemeClr>
                </a:solidFill>
              </a:defRPr>
            </a:lvl4pPr>
            <a:lvl5pPr marL="1370645" indent="0" algn="ctr">
              <a:buNone/>
              <a:defRPr>
                <a:solidFill>
                  <a:schemeClr val="tx1">
                    <a:tint val="75000"/>
                  </a:schemeClr>
                </a:solidFill>
              </a:defRPr>
            </a:lvl5pPr>
            <a:lvl6pPr marL="1713294" indent="0" algn="ctr">
              <a:buNone/>
              <a:defRPr>
                <a:solidFill>
                  <a:schemeClr val="tx1">
                    <a:tint val="75000"/>
                  </a:schemeClr>
                </a:solidFill>
              </a:defRPr>
            </a:lvl6pPr>
            <a:lvl7pPr marL="2055963" indent="0" algn="ctr">
              <a:buNone/>
              <a:defRPr>
                <a:solidFill>
                  <a:schemeClr val="tx1">
                    <a:tint val="75000"/>
                  </a:schemeClr>
                </a:solidFill>
              </a:defRPr>
            </a:lvl7pPr>
            <a:lvl8pPr marL="2398624" indent="0" algn="ctr">
              <a:buNone/>
              <a:defRPr>
                <a:solidFill>
                  <a:schemeClr val="tx1">
                    <a:tint val="75000"/>
                  </a:schemeClr>
                </a:solidFill>
              </a:defRPr>
            </a:lvl8pPr>
            <a:lvl9pPr marL="2741288"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417214" y="3120391"/>
            <a:ext cx="6656137" cy="955904"/>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5000" b="0" i="0" u="none" strike="noStrike" kern="1200" cap="none" spc="-482"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6663823" y="1428750"/>
            <a:ext cx="958447" cy="2434026"/>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685322"/>
              <a:endParaRPr lang="en-US" sz="1400">
                <a:solidFill>
                  <a:srgbClr val="292929"/>
                </a:solidFill>
              </a:endParaRPr>
            </a:p>
          </p:txBody>
        </p:sp>
      </p:grpSp>
    </p:spTree>
    <p:extLst>
      <p:ext uri="{BB962C8B-B14F-4D97-AF65-F5344CB8AC3E}">
        <p14:creationId xmlns:p14="http://schemas.microsoft.com/office/powerpoint/2010/main" val="58952469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391008" y="1428751"/>
            <a:ext cx="8022140" cy="1033983"/>
          </a:xfrm>
        </p:spPr>
        <p:txBody>
          <a:bodyPr anchor="ctr" anchorCtr="0">
            <a:noAutofit/>
            <a:scene3d>
              <a:camera prst="orthographicFront"/>
              <a:lightRig rig="flat" dir="t"/>
            </a:scene3d>
            <a:sp3d>
              <a:contourClr>
                <a:schemeClr val="bg2"/>
              </a:contourClr>
            </a:sp3d>
          </a:bodyPr>
          <a:lstStyle>
            <a:lvl1pPr marL="0" indent="0" algn="l">
              <a:buFont typeface="Arial" pitchFamily="34" charset="0"/>
              <a:buNone/>
              <a:defRPr kumimoji="0" lang="en-US" sz="6600" b="0" i="0" u="none" strike="noStrike" kern="1200" cap="none" spc="-90"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pic>
        <p:nvPicPr>
          <p:cNvPr id="8" name="Picture 7"/>
          <p:cNvPicPr>
            <a:picLocks noChangeAspect="1"/>
          </p:cNvPicPr>
          <p:nvPr userDrawn="1"/>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872963" y="4753555"/>
            <a:ext cx="1880410" cy="218515"/>
          </a:xfrm>
          <a:prstGeom prst="rect">
            <a:avLst/>
          </a:prstGeom>
        </p:spPr>
      </p:pic>
    </p:spTree>
    <p:extLst>
      <p:ext uri="{BB962C8B-B14F-4D97-AF65-F5344CB8AC3E}">
        <p14:creationId xmlns:p14="http://schemas.microsoft.com/office/powerpoint/2010/main" val="1810605569"/>
      </p:ext>
    </p:extLst>
  </p:cSld>
  <p:clrMapOvr>
    <a:masterClrMapping/>
  </p:clrMapOvr>
  <p:transition>
    <p:fade/>
  </p:transition>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2"/>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3241725" y="2355206"/>
            <a:ext cx="2660550" cy="433089"/>
          </a:xfrm>
          <a:prstGeom prst="rect">
            <a:avLst/>
          </a:prstGeom>
          <a:noFill/>
          <a:ln>
            <a:noFill/>
          </a:ln>
        </p:spPr>
      </p:pic>
      <p:sp>
        <p:nvSpPr>
          <p:cNvPr id="3" name="Text Box 3"/>
          <p:cNvSpPr txBox="1">
            <a:spLocks noChangeArrowheads="1"/>
          </p:cNvSpPr>
          <p:nvPr userDrawn="1"/>
        </p:nvSpPr>
        <p:spPr bwMode="blackWhite">
          <a:xfrm>
            <a:off x="381000" y="4562681"/>
            <a:ext cx="8382000" cy="311613"/>
          </a:xfrm>
          <a:prstGeom prst="rect">
            <a:avLst/>
          </a:prstGeom>
          <a:noFill/>
          <a:ln w="12700">
            <a:noFill/>
            <a:miter lim="800000"/>
            <a:headEnd type="none" w="sm" len="sm"/>
            <a:tailEnd type="none" w="sm" len="sm"/>
          </a:ln>
          <a:effectLst/>
        </p:spPr>
        <p:txBody>
          <a:bodyPr vert="horz" wrap="square" lIns="68521" tIns="34261" rIns="68521" bIns="34261" numCol="1" anchor="t" anchorCtr="0" compatLnSpc="1">
            <a:prstTxWarp prst="textNoShape">
              <a:avLst/>
            </a:prstTxWarp>
            <a:spAutoFit/>
          </a:bodyPr>
          <a:lstStyle/>
          <a:p>
            <a:pPr algn="ctr" defTabSz="685124" eaLnBrk="0" hangingPunct="0"/>
            <a:r>
              <a:rPr lang="en-US" sz="500" dirty="0">
                <a:solidFill>
                  <a:srgbClr val="FFFFFF">
                    <a:alpha val="99000"/>
                  </a:srgbClr>
                </a:solidFill>
                <a:cs typeface="Arial" charset="0"/>
              </a:rPr>
              <a:t>© </a:t>
            </a:r>
            <a:r>
              <a:rPr lang="en-US" sz="500" dirty="0" smtClean="0">
                <a:solidFill>
                  <a:srgbClr val="FFFFFF">
                    <a:alpha val="99000"/>
                  </a:srgbClr>
                </a:solidFill>
                <a:cs typeface="Arial" charset="0"/>
              </a:rPr>
              <a:t>2011 Microsoft </a:t>
            </a:r>
            <a:r>
              <a:rPr lang="en-US" sz="500" dirty="0">
                <a:solidFill>
                  <a:srgbClr val="FFFFFF">
                    <a:alpha val="99000"/>
                  </a:srgbClr>
                </a:solidFill>
                <a:cs typeface="Arial" charset="0"/>
              </a:rPr>
              <a:t>Corporation. All rights reserved. Microsoft, Windows, Windows Vista and other product names are or may be registered trademarks and/or trademarks in the U.S. and/or other countries.</a:t>
            </a:r>
          </a:p>
          <a:p>
            <a:pPr algn="ctr" defTabSz="685124" eaLnBrk="0" hangingPunct="0"/>
            <a:r>
              <a:rPr lang="en-US" sz="500"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r>
              <a:rPr lang="en-US" sz="500" dirty="0" smtClean="0">
                <a:solidFill>
                  <a:srgbClr val="FFFFFF">
                    <a:alpha val="99000"/>
                  </a:srgbClr>
                </a:solidFill>
                <a:cs typeface="Arial" charset="0"/>
              </a:rPr>
              <a:t>MICROSOFT </a:t>
            </a:r>
            <a:r>
              <a:rPr lang="en-US" sz="500" dirty="0">
                <a:solidFill>
                  <a:srgbClr val="FFFFFF">
                    <a:alpha val="99000"/>
                  </a:srgbClr>
                </a:solidFill>
                <a:cs typeface="Arial" charset="0"/>
              </a:rPr>
              <a:t>MAKES NO WARRANTIES, EXPRESS, IMPLIED OR STATUTORY, AS TO THE INFORMATION IN THIS PRESENTATION.</a:t>
            </a:r>
          </a:p>
        </p:txBody>
      </p:sp>
    </p:spTree>
    <p:extLst>
      <p:ext uri="{BB962C8B-B14F-4D97-AF65-F5344CB8AC3E}">
        <p14:creationId xmlns:p14="http://schemas.microsoft.com/office/powerpoint/2010/main" val="2911895639"/>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heme" Target="../theme/theme3.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heme" Target="../theme/theme4.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slideLayout" Target="../slideLayouts/slideLayout74.xml"/><Relationship Id="rId18" Type="http://schemas.openxmlformats.org/officeDocument/2006/relationships/slideLayout" Target="../slideLayouts/slideLayout79.xml"/><Relationship Id="rId3" Type="http://schemas.openxmlformats.org/officeDocument/2006/relationships/slideLayout" Target="../slideLayouts/slideLayout64.xml"/><Relationship Id="rId21" Type="http://schemas.openxmlformats.org/officeDocument/2006/relationships/slideLayout" Target="../slideLayouts/slideLayout82.xml"/><Relationship Id="rId7" Type="http://schemas.openxmlformats.org/officeDocument/2006/relationships/slideLayout" Target="../slideLayouts/slideLayout68.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0" Type="http://schemas.openxmlformats.org/officeDocument/2006/relationships/slideLayout" Target="../slideLayouts/slideLayout81.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slideLayout" Target="../slideLayouts/slideLayout72.xml"/><Relationship Id="rId24" Type="http://schemas.openxmlformats.org/officeDocument/2006/relationships/theme" Target="../theme/theme5.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slideLayout" Target="../slideLayouts/slideLayout102.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theme" Target="../theme/theme6.xml"/><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18" Type="http://schemas.openxmlformats.org/officeDocument/2006/relationships/slideLayout" Target="../slideLayouts/slideLayout120.xml"/><Relationship Id="rId3" Type="http://schemas.openxmlformats.org/officeDocument/2006/relationships/slideLayout" Target="../slideLayouts/slideLayout105.xml"/><Relationship Id="rId21" Type="http://schemas.openxmlformats.org/officeDocument/2006/relationships/slideLayout" Target="../slideLayouts/slideLayout123.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slideLayout" Target="../slideLayouts/slideLayout119.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20" Type="http://schemas.openxmlformats.org/officeDocument/2006/relationships/slideLayout" Target="../slideLayouts/slideLayout122.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23" Type="http://schemas.openxmlformats.org/officeDocument/2006/relationships/theme" Target="../theme/theme7.xml"/><Relationship Id="rId10" Type="http://schemas.openxmlformats.org/officeDocument/2006/relationships/slideLayout" Target="../slideLayouts/slideLayout112.xml"/><Relationship Id="rId19" Type="http://schemas.openxmlformats.org/officeDocument/2006/relationships/slideLayout" Target="../slideLayouts/slideLayout121.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 Id="rId22" Type="http://schemas.openxmlformats.org/officeDocument/2006/relationships/slideLayout" Target="../slideLayouts/slideLayout12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26" Type="http://schemas.openxmlformats.org/officeDocument/2006/relationships/slideLayout" Target="../slideLayouts/slideLayout150.xml"/><Relationship Id="rId3" Type="http://schemas.openxmlformats.org/officeDocument/2006/relationships/slideLayout" Target="../slideLayouts/slideLayout127.xml"/><Relationship Id="rId21" Type="http://schemas.openxmlformats.org/officeDocument/2006/relationships/slideLayout" Target="../slideLayouts/slideLayout145.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5" Type="http://schemas.openxmlformats.org/officeDocument/2006/relationships/slideLayout" Target="../slideLayouts/slideLayout149.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slideLayout" Target="../slideLayouts/slideLayout144.xml"/><Relationship Id="rId29" Type="http://schemas.openxmlformats.org/officeDocument/2006/relationships/slideLayout" Target="../slideLayouts/slideLayout153.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24" Type="http://schemas.openxmlformats.org/officeDocument/2006/relationships/slideLayout" Target="../slideLayouts/slideLayout148.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23" Type="http://schemas.openxmlformats.org/officeDocument/2006/relationships/slideLayout" Target="../slideLayouts/slideLayout147.xml"/><Relationship Id="rId28" Type="http://schemas.openxmlformats.org/officeDocument/2006/relationships/slideLayout" Target="../slideLayouts/slideLayout152.xml"/><Relationship Id="rId10" Type="http://schemas.openxmlformats.org/officeDocument/2006/relationships/slideLayout" Target="../slideLayouts/slideLayout134.xml"/><Relationship Id="rId19" Type="http://schemas.openxmlformats.org/officeDocument/2006/relationships/slideLayout" Target="../slideLayouts/slideLayout143.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 Id="rId22" Type="http://schemas.openxmlformats.org/officeDocument/2006/relationships/slideLayout" Target="../slideLayouts/slideLayout146.xml"/><Relationship Id="rId27" Type="http://schemas.openxmlformats.org/officeDocument/2006/relationships/slideLayout" Target="../slideLayouts/slideLayout151.xml"/><Relationship Id="rId30"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6" r:id="rId20"/>
    <p:sldLayoutId id="2147483707" r:id="rId21"/>
    <p:sldLayoutId id="2147483710" r:id="rId22"/>
    <p:sldLayoutId id="2147483816" r:id="rId23"/>
    <p:sldLayoutId id="2147483817" r:id="rId24"/>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4" name="Rectangle 3"/>
          <p:cNvSpPr/>
          <p:nvPr/>
        </p:nvSpPr>
        <p:spPr bwMode="auto">
          <a:xfrm>
            <a:off x="1" y="0"/>
            <a:ext cx="231318" cy="51435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5" name="Rectangle 4"/>
          <p:cNvSpPr/>
          <p:nvPr/>
        </p:nvSpPr>
        <p:spPr bwMode="auto">
          <a:xfrm>
            <a:off x="0" y="0"/>
            <a:ext cx="9144000" cy="108585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endParaRPr lang="en-US" sz="1700" dirty="0" smtClean="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389441" y="171453"/>
            <a:ext cx="8363939" cy="4985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428751"/>
            <a:ext cx="8363937" cy="122687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lt1" tx1="dk1" bg2="lt2" tx2="dk2" accent1="accent1" accent2="accent2" accent3="accent3" accent4="accent4" accent5="accent5" accent6="accent6" hlink="hlink" folHlink="folHlink"/>
  <p:sldLayoutIdLst>
    <p:sldLayoutId id="2147483709" r:id="rId1"/>
  </p:sldLayoutIdLst>
  <p:transition>
    <p:fade/>
  </p:transition>
  <p:timing>
    <p:tnLst>
      <p:par>
        <p:cTn id="1" dur="indefinite" restart="never" nodeType="tmRoot"/>
      </p:par>
    </p:tnLst>
  </p:timing>
  <p:txStyles>
    <p:titleStyle>
      <a:lvl1pPr algn="l" defTabSz="685664" rtl="0" eaLnBrk="1" latinLnBrk="0" hangingPunct="1">
        <a:lnSpc>
          <a:spcPct val="90000"/>
        </a:lnSpc>
        <a:spcBef>
          <a:spcPct val="0"/>
        </a:spcBef>
        <a:buNone/>
        <a:defRPr lang="en-US" sz="3600" b="0" kern="1200" cap="none" spc="-75" baseline="0" dirty="0">
          <a:ln w="3175">
            <a:noFill/>
          </a:ln>
          <a:solidFill>
            <a:schemeClr val="bg1">
              <a:alpha val="99000"/>
            </a:schemeClr>
          </a:solidFill>
          <a:effectLst/>
          <a:latin typeface="Segoe UI Light" pitchFamily="34" charset="0"/>
          <a:ea typeface="+mn-ea"/>
          <a:cs typeface="Arial" charset="0"/>
        </a:defRPr>
      </a:lvl1pPr>
    </p:titleStyle>
    <p:bodyStyle>
      <a:lvl1pPr marL="0" indent="0" algn="l" defTabSz="685664" rtl="0" eaLnBrk="1" latinLnBrk="0" hangingPunct="1">
        <a:lnSpc>
          <a:spcPct val="90000"/>
        </a:lnSpc>
        <a:spcBef>
          <a:spcPct val="20000"/>
        </a:spcBef>
        <a:buFont typeface="Arial" pitchFamily="34" charset="0"/>
        <a:buNone/>
        <a:defRPr sz="1800" b="0" kern="1200">
          <a:gradFill>
            <a:gsLst>
              <a:gs pos="0">
                <a:srgbClr val="595959"/>
              </a:gs>
              <a:gs pos="86000">
                <a:srgbClr val="595959"/>
              </a:gs>
            </a:gsLst>
            <a:lin ang="5400000" scaled="0"/>
          </a:gradFill>
          <a:latin typeface="Consolas" pitchFamily="49" charset="0"/>
          <a:ea typeface="+mn-ea"/>
          <a:cs typeface="Consolas" pitchFamily="49" charset="0"/>
        </a:defRPr>
      </a:lvl1pPr>
      <a:lvl2pPr marL="288670" indent="-5954" algn="l" defTabSz="685664" rtl="0" eaLnBrk="1" latinLnBrk="0" hangingPunct="1">
        <a:lnSpc>
          <a:spcPct val="90000"/>
        </a:lnSpc>
        <a:spcBef>
          <a:spcPct val="20000"/>
        </a:spcBef>
        <a:buFont typeface="Arial" pitchFamily="34" charset="0"/>
        <a:buNone/>
        <a:defRPr sz="1500" b="0" kern="1200">
          <a:gradFill>
            <a:gsLst>
              <a:gs pos="0">
                <a:srgbClr val="595959"/>
              </a:gs>
              <a:gs pos="86000">
                <a:srgbClr val="595959"/>
              </a:gs>
            </a:gsLst>
            <a:lin ang="5400000" scaled="0"/>
          </a:gradFill>
          <a:latin typeface="Consolas" pitchFamily="49" charset="0"/>
          <a:ea typeface="+mn-ea"/>
          <a:cs typeface="Consolas" pitchFamily="49" charset="0"/>
        </a:defRPr>
      </a:lvl2pPr>
      <a:lvl3pPr marL="571386"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3pPr>
      <a:lvl4pPr marL="820378" indent="5954"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4pPr>
      <a:lvl5pPr marL="1069364" indent="0" algn="l" defTabSz="685664" rtl="0" eaLnBrk="1" latinLnBrk="0" hangingPunct="1">
        <a:lnSpc>
          <a:spcPct val="90000"/>
        </a:lnSpc>
        <a:spcBef>
          <a:spcPct val="20000"/>
        </a:spcBef>
        <a:buFont typeface="Arial" pitchFamily="34" charset="0"/>
        <a:buNone/>
        <a:defRPr sz="1400" b="0" kern="1200">
          <a:gradFill>
            <a:gsLst>
              <a:gs pos="0">
                <a:srgbClr val="595959"/>
              </a:gs>
              <a:gs pos="86000">
                <a:srgbClr val="595959"/>
              </a:gs>
            </a:gsLst>
            <a:lin ang="5400000" scaled="0"/>
          </a:gradFill>
          <a:latin typeface="Consolas" pitchFamily="49" charset="0"/>
          <a:ea typeface="+mn-ea"/>
          <a:cs typeface="Consolas" pitchFamily="49" charset="0"/>
        </a:defRPr>
      </a:lvl5pPr>
      <a:lvl6pPr marL="1885580"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407"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241"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072" indent="-171417" algn="l" defTabSz="6856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64" rtl="0" eaLnBrk="1" latinLnBrk="0" hangingPunct="1">
        <a:defRPr sz="1400" kern="1200">
          <a:solidFill>
            <a:schemeClr val="tx1"/>
          </a:solidFill>
          <a:latin typeface="+mn-lt"/>
          <a:ea typeface="+mn-ea"/>
          <a:cs typeface="+mn-cs"/>
        </a:defRPr>
      </a:lvl1pPr>
      <a:lvl2pPr marL="342829" algn="l" defTabSz="685664" rtl="0" eaLnBrk="1" latinLnBrk="0" hangingPunct="1">
        <a:defRPr sz="1400" kern="1200">
          <a:solidFill>
            <a:schemeClr val="tx1"/>
          </a:solidFill>
          <a:latin typeface="+mn-lt"/>
          <a:ea typeface="+mn-ea"/>
          <a:cs typeface="+mn-cs"/>
        </a:defRPr>
      </a:lvl2pPr>
      <a:lvl3pPr marL="685664" algn="l" defTabSz="685664" rtl="0" eaLnBrk="1" latinLnBrk="0" hangingPunct="1">
        <a:defRPr sz="1400" kern="1200">
          <a:solidFill>
            <a:schemeClr val="tx1"/>
          </a:solidFill>
          <a:latin typeface="+mn-lt"/>
          <a:ea typeface="+mn-ea"/>
          <a:cs typeface="+mn-cs"/>
        </a:defRPr>
      </a:lvl3pPr>
      <a:lvl4pPr marL="1028495" algn="l" defTabSz="685664" rtl="0" eaLnBrk="1" latinLnBrk="0" hangingPunct="1">
        <a:defRPr sz="1400" kern="1200">
          <a:solidFill>
            <a:schemeClr val="tx1"/>
          </a:solidFill>
          <a:latin typeface="+mn-lt"/>
          <a:ea typeface="+mn-ea"/>
          <a:cs typeface="+mn-cs"/>
        </a:defRPr>
      </a:lvl4pPr>
      <a:lvl5pPr marL="1371329" algn="l" defTabSz="685664" rtl="0" eaLnBrk="1" latinLnBrk="0" hangingPunct="1">
        <a:defRPr sz="1400" kern="1200">
          <a:solidFill>
            <a:schemeClr val="tx1"/>
          </a:solidFill>
          <a:latin typeface="+mn-lt"/>
          <a:ea typeface="+mn-ea"/>
          <a:cs typeface="+mn-cs"/>
        </a:defRPr>
      </a:lvl5pPr>
      <a:lvl6pPr marL="1714156" algn="l" defTabSz="685664" rtl="0" eaLnBrk="1" latinLnBrk="0" hangingPunct="1">
        <a:defRPr sz="1400" kern="1200">
          <a:solidFill>
            <a:schemeClr val="tx1"/>
          </a:solidFill>
          <a:latin typeface="+mn-lt"/>
          <a:ea typeface="+mn-ea"/>
          <a:cs typeface="+mn-cs"/>
        </a:defRPr>
      </a:lvl6pPr>
      <a:lvl7pPr marL="2056992" algn="l" defTabSz="685664" rtl="0" eaLnBrk="1" latinLnBrk="0" hangingPunct="1">
        <a:defRPr sz="1400" kern="1200">
          <a:solidFill>
            <a:schemeClr val="tx1"/>
          </a:solidFill>
          <a:latin typeface="+mn-lt"/>
          <a:ea typeface="+mn-ea"/>
          <a:cs typeface="+mn-cs"/>
        </a:defRPr>
      </a:lvl7pPr>
      <a:lvl8pPr marL="2399824" algn="l" defTabSz="685664" rtl="0" eaLnBrk="1" latinLnBrk="0" hangingPunct="1">
        <a:defRPr sz="1400" kern="1200">
          <a:solidFill>
            <a:schemeClr val="tx1"/>
          </a:solidFill>
          <a:latin typeface="+mn-lt"/>
          <a:ea typeface="+mn-ea"/>
          <a:cs typeface="+mn-cs"/>
        </a:defRPr>
      </a:lvl8pPr>
      <a:lvl9pPr marL="2742657" algn="l" defTabSz="685664" rtl="0" eaLnBrk="1" latinLnBrk="0" hangingPunct="1">
        <a:defRPr sz="1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09918194"/>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 id="2147483729" r:id="rId17"/>
    <p:sldLayoutId id="2147483730" r:id="rId18"/>
  </p:sldLayoutIdLst>
  <p:transition>
    <p:fade/>
  </p:transition>
  <p:timing>
    <p:tnLst>
      <p:par>
        <p:cTn id="1" dur="indefinite" restart="never" nodeType="tmRoot"/>
      </p:par>
    </p:tnLst>
  </p:timing>
  <p:txStyles>
    <p:titleStyle>
      <a:lvl1pPr algn="l" defTabSz="685693"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37" indent="-345237" algn="l" defTabSz="685693"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672" indent="-296434" algn="l" defTabSz="685693"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058" indent="-302386" algn="l" defTabSz="685693"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577" indent="-259525"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967" indent="-252383" algn="l" defTabSz="685693"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65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00"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348"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193" indent="-171424" algn="l" defTabSz="68569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693" rtl="0" eaLnBrk="1" latinLnBrk="0" hangingPunct="1">
        <a:defRPr sz="1400" kern="1200">
          <a:solidFill>
            <a:schemeClr val="tx1"/>
          </a:solidFill>
          <a:latin typeface="+mn-lt"/>
          <a:ea typeface="+mn-ea"/>
          <a:cs typeface="+mn-cs"/>
        </a:defRPr>
      </a:lvl1pPr>
      <a:lvl2pPr marL="342844" algn="l" defTabSz="685693" rtl="0" eaLnBrk="1" latinLnBrk="0" hangingPunct="1">
        <a:defRPr sz="1400" kern="1200">
          <a:solidFill>
            <a:schemeClr val="tx1"/>
          </a:solidFill>
          <a:latin typeface="+mn-lt"/>
          <a:ea typeface="+mn-ea"/>
          <a:cs typeface="+mn-cs"/>
        </a:defRPr>
      </a:lvl2pPr>
      <a:lvl3pPr marL="685693" algn="l" defTabSz="685693" rtl="0" eaLnBrk="1" latinLnBrk="0" hangingPunct="1">
        <a:defRPr sz="1400" kern="1200">
          <a:solidFill>
            <a:schemeClr val="tx1"/>
          </a:solidFill>
          <a:latin typeface="+mn-lt"/>
          <a:ea typeface="+mn-ea"/>
          <a:cs typeface="+mn-cs"/>
        </a:defRPr>
      </a:lvl3pPr>
      <a:lvl4pPr marL="1028538" algn="l" defTabSz="685693" rtl="0" eaLnBrk="1" latinLnBrk="0" hangingPunct="1">
        <a:defRPr sz="1400" kern="1200">
          <a:solidFill>
            <a:schemeClr val="tx1"/>
          </a:solidFill>
          <a:latin typeface="+mn-lt"/>
          <a:ea typeface="+mn-ea"/>
          <a:cs typeface="+mn-cs"/>
        </a:defRPr>
      </a:lvl4pPr>
      <a:lvl5pPr marL="1371386" algn="l" defTabSz="685693" rtl="0" eaLnBrk="1" latinLnBrk="0" hangingPunct="1">
        <a:defRPr sz="1400" kern="1200">
          <a:solidFill>
            <a:schemeClr val="tx1"/>
          </a:solidFill>
          <a:latin typeface="+mn-lt"/>
          <a:ea typeface="+mn-ea"/>
          <a:cs typeface="+mn-cs"/>
        </a:defRPr>
      </a:lvl5pPr>
      <a:lvl6pPr marL="1714228" algn="l" defTabSz="685693" rtl="0" eaLnBrk="1" latinLnBrk="0" hangingPunct="1">
        <a:defRPr sz="1400" kern="1200">
          <a:solidFill>
            <a:schemeClr val="tx1"/>
          </a:solidFill>
          <a:latin typeface="+mn-lt"/>
          <a:ea typeface="+mn-ea"/>
          <a:cs typeface="+mn-cs"/>
        </a:defRPr>
      </a:lvl6pPr>
      <a:lvl7pPr marL="2057078" algn="l" defTabSz="685693" rtl="0" eaLnBrk="1" latinLnBrk="0" hangingPunct="1">
        <a:defRPr sz="1400" kern="1200">
          <a:solidFill>
            <a:schemeClr val="tx1"/>
          </a:solidFill>
          <a:latin typeface="+mn-lt"/>
          <a:ea typeface="+mn-ea"/>
          <a:cs typeface="+mn-cs"/>
        </a:defRPr>
      </a:lvl7pPr>
      <a:lvl8pPr marL="2399924" algn="l" defTabSz="685693" rtl="0" eaLnBrk="1" latinLnBrk="0" hangingPunct="1">
        <a:defRPr sz="1400" kern="1200">
          <a:solidFill>
            <a:schemeClr val="tx1"/>
          </a:solidFill>
          <a:latin typeface="+mn-lt"/>
          <a:ea typeface="+mn-ea"/>
          <a:cs typeface="+mn-cs"/>
        </a:defRPr>
      </a:lvl8pPr>
      <a:lvl9pPr marL="2742771" algn="l" defTabSz="685693"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84297675"/>
      </p:ext>
    </p:extLst>
  </p:cSld>
  <p:clrMap bg1="lt1" tx1="dk1" bg2="lt2" tx2="dk2" accent1="accent1" accent2="accent2" accent3="accent3" accent4="accent4" accent5="accent5" accent6="accent6" hlink="hlink" folHlink="folHlink"/>
  <p:sldLayoutIdLst>
    <p:sldLayoutId id="2147483732"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3" r:id="rId12"/>
    <p:sldLayoutId id="2147483744" r:id="rId13"/>
    <p:sldLayoutId id="2147483745" r:id="rId14"/>
    <p:sldLayoutId id="2147483746" r:id="rId15"/>
    <p:sldLayoutId id="2147483747" r:id="rId16"/>
    <p:sldLayoutId id="2147483748" r:id="rId17"/>
    <p:sldLayoutId id="2147483749" r:id="rId18"/>
  </p:sldLayoutIdLst>
  <p:transition>
    <p:fade/>
  </p:transition>
  <p:timing>
    <p:tnLst>
      <p:par>
        <p:cTn id="1" dur="indefinite" restart="never" nodeType="tmRoot"/>
      </p:par>
    </p:tnLst>
  </p:timing>
  <p:txStyles>
    <p:titleStyle>
      <a:lvl1pPr algn="l" defTabSz="685208"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4983" indent="-344983" algn="l" defTabSz="685208"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213" indent="-296229" algn="l" defTabSz="685208"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395" indent="-302182" algn="l" defTabSz="685208"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726" indent="-259338"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4942" indent="-252205" algn="l" defTabSz="685208"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331"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6919"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527"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128" indent="-171305" algn="l" defTabSz="685208"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208" rtl="0" eaLnBrk="1" latinLnBrk="0" hangingPunct="1">
        <a:defRPr sz="1400" kern="1200">
          <a:solidFill>
            <a:schemeClr val="tx1"/>
          </a:solidFill>
          <a:latin typeface="+mn-lt"/>
          <a:ea typeface="+mn-ea"/>
          <a:cs typeface="+mn-cs"/>
        </a:defRPr>
      </a:lvl1pPr>
      <a:lvl2pPr marL="342589" algn="l" defTabSz="685208" rtl="0" eaLnBrk="1" latinLnBrk="0" hangingPunct="1">
        <a:defRPr sz="1400" kern="1200">
          <a:solidFill>
            <a:schemeClr val="tx1"/>
          </a:solidFill>
          <a:latin typeface="+mn-lt"/>
          <a:ea typeface="+mn-ea"/>
          <a:cs typeface="+mn-cs"/>
        </a:defRPr>
      </a:lvl2pPr>
      <a:lvl3pPr marL="685208" algn="l" defTabSz="685208" rtl="0" eaLnBrk="1" latinLnBrk="0" hangingPunct="1">
        <a:defRPr sz="1400" kern="1200">
          <a:solidFill>
            <a:schemeClr val="tx1"/>
          </a:solidFill>
          <a:latin typeface="+mn-lt"/>
          <a:ea typeface="+mn-ea"/>
          <a:cs typeface="+mn-cs"/>
        </a:defRPr>
      </a:lvl3pPr>
      <a:lvl4pPr marL="1027807" algn="l" defTabSz="685208" rtl="0" eaLnBrk="1" latinLnBrk="0" hangingPunct="1">
        <a:defRPr sz="1400" kern="1200">
          <a:solidFill>
            <a:schemeClr val="tx1"/>
          </a:solidFill>
          <a:latin typeface="+mn-lt"/>
          <a:ea typeface="+mn-ea"/>
          <a:cs typeface="+mn-cs"/>
        </a:defRPr>
      </a:lvl4pPr>
      <a:lvl5pPr marL="1370417" algn="l" defTabSz="685208" rtl="0" eaLnBrk="1" latinLnBrk="0" hangingPunct="1">
        <a:defRPr sz="1400" kern="1200">
          <a:solidFill>
            <a:schemeClr val="tx1"/>
          </a:solidFill>
          <a:latin typeface="+mn-lt"/>
          <a:ea typeface="+mn-ea"/>
          <a:cs typeface="+mn-cs"/>
        </a:defRPr>
      </a:lvl5pPr>
      <a:lvl6pPr marL="1713006" algn="l" defTabSz="685208" rtl="0" eaLnBrk="1" latinLnBrk="0" hangingPunct="1">
        <a:defRPr sz="1400" kern="1200">
          <a:solidFill>
            <a:schemeClr val="tx1"/>
          </a:solidFill>
          <a:latin typeface="+mn-lt"/>
          <a:ea typeface="+mn-ea"/>
          <a:cs typeface="+mn-cs"/>
        </a:defRPr>
      </a:lvl6pPr>
      <a:lvl7pPr marL="2055621" algn="l" defTabSz="685208" rtl="0" eaLnBrk="1" latinLnBrk="0" hangingPunct="1">
        <a:defRPr sz="1400" kern="1200">
          <a:solidFill>
            <a:schemeClr val="tx1"/>
          </a:solidFill>
          <a:latin typeface="+mn-lt"/>
          <a:ea typeface="+mn-ea"/>
          <a:cs typeface="+mn-cs"/>
        </a:defRPr>
      </a:lvl7pPr>
      <a:lvl8pPr marL="2398224" algn="l" defTabSz="685208" rtl="0" eaLnBrk="1" latinLnBrk="0" hangingPunct="1">
        <a:defRPr sz="1400" kern="1200">
          <a:solidFill>
            <a:schemeClr val="tx1"/>
          </a:solidFill>
          <a:latin typeface="+mn-lt"/>
          <a:ea typeface="+mn-ea"/>
          <a:cs typeface="+mn-cs"/>
        </a:defRPr>
      </a:lvl8pPr>
      <a:lvl9pPr marL="2740832" algn="l" defTabSz="685208"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02870251"/>
      </p:ext>
    </p:extLst>
  </p:cSld>
  <p:clrMap bg1="lt1" tx1="dk1" bg2="lt2" tx2="dk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 id="2147483759" r:id="rId9"/>
    <p:sldLayoutId id="2147483760" r:id="rId10"/>
    <p:sldLayoutId id="2147483761" r:id="rId11"/>
    <p:sldLayoutId id="2147483762" r:id="rId12"/>
    <p:sldLayoutId id="2147483763" r:id="rId13"/>
    <p:sldLayoutId id="2147483764" r:id="rId14"/>
    <p:sldLayoutId id="2147483765" r:id="rId15"/>
    <p:sldLayoutId id="2147483766" r:id="rId16"/>
    <p:sldLayoutId id="2147483767" r:id="rId17"/>
    <p:sldLayoutId id="2147483768" r:id="rId18"/>
    <p:sldLayoutId id="2147483769" r:id="rId19"/>
    <p:sldLayoutId id="2147483770" r:id="rId20"/>
    <p:sldLayoutId id="2147483771" r:id="rId21"/>
    <p:sldLayoutId id="2147483772" r:id="rId22"/>
    <p:sldLayoutId id="2147483773" r:id="rId23"/>
  </p:sldLayoutIdLst>
  <p:transition>
    <p:fade/>
  </p:transition>
  <p:timing>
    <p:tnLst>
      <p:par>
        <p:cTn id="1" dur="indefinite" restart="never" nodeType="tmRoot"/>
      </p:par>
    </p:tnLst>
  </p:timing>
  <p:txStyles>
    <p:titleStyle>
      <a:lvl1pPr algn="l" defTabSz="685750"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267" indent="-345267" algn="l" defTabSz="685750"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726" indent="-296458" algn="l" defTabSz="685750"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136" indent="-302410" algn="l" defTabSz="685750"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679" indent="-259547"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087" indent="-252404" algn="l" defTabSz="685750"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5814"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8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562"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436" indent="-171438" algn="l" defTabSz="68575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50" rtl="0" eaLnBrk="1" latinLnBrk="0" hangingPunct="1">
        <a:defRPr sz="1400" kern="1200">
          <a:solidFill>
            <a:schemeClr val="tx1"/>
          </a:solidFill>
          <a:latin typeface="+mn-lt"/>
          <a:ea typeface="+mn-ea"/>
          <a:cs typeface="+mn-cs"/>
        </a:defRPr>
      </a:lvl1pPr>
      <a:lvl2pPr marL="342874" algn="l" defTabSz="685750" rtl="0" eaLnBrk="1" latinLnBrk="0" hangingPunct="1">
        <a:defRPr sz="1400" kern="1200">
          <a:solidFill>
            <a:schemeClr val="tx1"/>
          </a:solidFill>
          <a:latin typeface="+mn-lt"/>
          <a:ea typeface="+mn-ea"/>
          <a:cs typeface="+mn-cs"/>
        </a:defRPr>
      </a:lvl2pPr>
      <a:lvl3pPr marL="685750" algn="l" defTabSz="685750" rtl="0" eaLnBrk="1" latinLnBrk="0" hangingPunct="1">
        <a:defRPr sz="1400" kern="1200">
          <a:solidFill>
            <a:schemeClr val="tx1"/>
          </a:solidFill>
          <a:latin typeface="+mn-lt"/>
          <a:ea typeface="+mn-ea"/>
          <a:cs typeface="+mn-cs"/>
        </a:defRPr>
      </a:lvl3pPr>
      <a:lvl4pPr marL="1028624" algn="l" defTabSz="685750" rtl="0" eaLnBrk="1" latinLnBrk="0" hangingPunct="1">
        <a:defRPr sz="1400" kern="1200">
          <a:solidFill>
            <a:schemeClr val="tx1"/>
          </a:solidFill>
          <a:latin typeface="+mn-lt"/>
          <a:ea typeface="+mn-ea"/>
          <a:cs typeface="+mn-cs"/>
        </a:defRPr>
      </a:lvl4pPr>
      <a:lvl5pPr marL="1371500" algn="l" defTabSz="685750" rtl="0" eaLnBrk="1" latinLnBrk="0" hangingPunct="1">
        <a:defRPr sz="1400" kern="1200">
          <a:solidFill>
            <a:schemeClr val="tx1"/>
          </a:solidFill>
          <a:latin typeface="+mn-lt"/>
          <a:ea typeface="+mn-ea"/>
          <a:cs typeface="+mn-cs"/>
        </a:defRPr>
      </a:lvl5pPr>
      <a:lvl6pPr marL="1714372" algn="l" defTabSz="685750" rtl="0" eaLnBrk="1" latinLnBrk="0" hangingPunct="1">
        <a:defRPr sz="1400" kern="1200">
          <a:solidFill>
            <a:schemeClr val="tx1"/>
          </a:solidFill>
          <a:latin typeface="+mn-lt"/>
          <a:ea typeface="+mn-ea"/>
          <a:cs typeface="+mn-cs"/>
        </a:defRPr>
      </a:lvl6pPr>
      <a:lvl7pPr marL="2057249" algn="l" defTabSz="685750" rtl="0" eaLnBrk="1" latinLnBrk="0" hangingPunct="1">
        <a:defRPr sz="1400" kern="1200">
          <a:solidFill>
            <a:schemeClr val="tx1"/>
          </a:solidFill>
          <a:latin typeface="+mn-lt"/>
          <a:ea typeface="+mn-ea"/>
          <a:cs typeface="+mn-cs"/>
        </a:defRPr>
      </a:lvl7pPr>
      <a:lvl8pPr marL="2400124" algn="l" defTabSz="685750" rtl="0" eaLnBrk="1" latinLnBrk="0" hangingPunct="1">
        <a:defRPr sz="1400" kern="1200">
          <a:solidFill>
            <a:schemeClr val="tx1"/>
          </a:solidFill>
          <a:latin typeface="+mn-lt"/>
          <a:ea typeface="+mn-ea"/>
          <a:cs typeface="+mn-cs"/>
        </a:defRPr>
      </a:lvl8pPr>
      <a:lvl9pPr marL="2742999" algn="l" defTabSz="685750"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2"/>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80619710"/>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 id="2147483788" r:id="rId14"/>
    <p:sldLayoutId id="2147483789" r:id="rId15"/>
    <p:sldLayoutId id="2147483790" r:id="rId16"/>
    <p:sldLayoutId id="2147483791" r:id="rId17"/>
    <p:sldLayoutId id="2147483792" r:id="rId18"/>
  </p:sldLayoutIdLst>
  <p:transition>
    <p:fade/>
  </p:transition>
  <p:timing>
    <p:tnLst>
      <p:par>
        <p:cTn id="1" dur="indefinite" restart="never" nodeType="tmRoot"/>
      </p:par>
    </p:tnLst>
  </p:timing>
  <p:txStyles>
    <p:titleStyle>
      <a:lvl1pPr algn="l" defTabSz="685322"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042" indent="-345042" algn="l" defTabSz="685322"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321" indent="-296277" algn="l" defTabSz="685322"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3551" indent="-302230" algn="l" defTabSz="685322"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2926" indent="-259382"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5186" indent="-252247" algn="l" defTabSz="685322"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464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7291"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69955"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2614" indent="-171333" algn="l" defTabSz="685322"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322" rtl="0" eaLnBrk="1" latinLnBrk="0" hangingPunct="1">
        <a:defRPr sz="1400" kern="1200">
          <a:solidFill>
            <a:schemeClr val="tx1"/>
          </a:solidFill>
          <a:latin typeface="+mn-lt"/>
          <a:ea typeface="+mn-ea"/>
          <a:cs typeface="+mn-cs"/>
        </a:defRPr>
      </a:lvl1pPr>
      <a:lvl2pPr marL="342649" algn="l" defTabSz="685322" rtl="0" eaLnBrk="1" latinLnBrk="0" hangingPunct="1">
        <a:defRPr sz="1400" kern="1200">
          <a:solidFill>
            <a:schemeClr val="tx1"/>
          </a:solidFill>
          <a:latin typeface="+mn-lt"/>
          <a:ea typeface="+mn-ea"/>
          <a:cs typeface="+mn-cs"/>
        </a:defRPr>
      </a:lvl2pPr>
      <a:lvl3pPr marL="685322" algn="l" defTabSz="685322" rtl="0" eaLnBrk="1" latinLnBrk="0" hangingPunct="1">
        <a:defRPr sz="1400" kern="1200">
          <a:solidFill>
            <a:schemeClr val="tx1"/>
          </a:solidFill>
          <a:latin typeface="+mn-lt"/>
          <a:ea typeface="+mn-ea"/>
          <a:cs typeface="+mn-cs"/>
        </a:defRPr>
      </a:lvl3pPr>
      <a:lvl4pPr marL="1027979" algn="l" defTabSz="685322" rtl="0" eaLnBrk="1" latinLnBrk="0" hangingPunct="1">
        <a:defRPr sz="1400" kern="1200">
          <a:solidFill>
            <a:schemeClr val="tx1"/>
          </a:solidFill>
          <a:latin typeface="+mn-lt"/>
          <a:ea typeface="+mn-ea"/>
          <a:cs typeface="+mn-cs"/>
        </a:defRPr>
      </a:lvl4pPr>
      <a:lvl5pPr marL="1370645" algn="l" defTabSz="685322" rtl="0" eaLnBrk="1" latinLnBrk="0" hangingPunct="1">
        <a:defRPr sz="1400" kern="1200">
          <a:solidFill>
            <a:schemeClr val="tx1"/>
          </a:solidFill>
          <a:latin typeface="+mn-lt"/>
          <a:ea typeface="+mn-ea"/>
          <a:cs typeface="+mn-cs"/>
        </a:defRPr>
      </a:lvl5pPr>
      <a:lvl6pPr marL="1713294" algn="l" defTabSz="685322" rtl="0" eaLnBrk="1" latinLnBrk="0" hangingPunct="1">
        <a:defRPr sz="1400" kern="1200">
          <a:solidFill>
            <a:schemeClr val="tx1"/>
          </a:solidFill>
          <a:latin typeface="+mn-lt"/>
          <a:ea typeface="+mn-ea"/>
          <a:cs typeface="+mn-cs"/>
        </a:defRPr>
      </a:lvl6pPr>
      <a:lvl7pPr marL="2055963" algn="l" defTabSz="685322" rtl="0" eaLnBrk="1" latinLnBrk="0" hangingPunct="1">
        <a:defRPr sz="1400" kern="1200">
          <a:solidFill>
            <a:schemeClr val="tx1"/>
          </a:solidFill>
          <a:latin typeface="+mn-lt"/>
          <a:ea typeface="+mn-ea"/>
          <a:cs typeface="+mn-cs"/>
        </a:defRPr>
      </a:lvl7pPr>
      <a:lvl8pPr marL="2398624" algn="l" defTabSz="685322" rtl="0" eaLnBrk="1" latinLnBrk="0" hangingPunct="1">
        <a:defRPr sz="1400" kern="1200">
          <a:solidFill>
            <a:schemeClr val="tx1"/>
          </a:solidFill>
          <a:latin typeface="+mn-lt"/>
          <a:ea typeface="+mn-ea"/>
          <a:cs typeface="+mn-cs"/>
        </a:defRPr>
      </a:lvl8pPr>
      <a:lvl9pPr marL="2741288" algn="l" defTabSz="685322" rtl="0" eaLnBrk="1" latinLnBrk="0" hangingPunct="1">
        <a:defRPr sz="1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0"/>
            <a:ext cx="8363938" cy="56784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389436" y="1085850"/>
            <a:ext cx="8363937" cy="1500411"/>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5964125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Lst>
  <p:transition>
    <p:fade/>
  </p:transition>
  <p:timing>
    <p:tnLst>
      <p:par>
        <p:cTn id="1" dur="indefinite" restart="never" nodeType="tmRoot"/>
      </p:par>
    </p:tnLst>
  </p:timing>
  <p:txStyles>
    <p:titleStyle>
      <a:lvl1pPr algn="l" defTabSz="685864" rtl="0" eaLnBrk="1" latinLnBrk="0" hangingPunct="1">
        <a:lnSpc>
          <a:spcPct val="90000"/>
        </a:lnSpc>
        <a:spcBef>
          <a:spcPct val="0"/>
        </a:spcBef>
        <a:buNone/>
        <a:defRPr lang="en-US" sz="4100" b="0" kern="1200" cap="none" spc="-75" baseline="0" dirty="0" smtClean="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45327" indent="-345327" algn="l" defTabSz="685864" rtl="0" eaLnBrk="1" latinLnBrk="0" hangingPunct="1">
        <a:lnSpc>
          <a:spcPct val="90000"/>
        </a:lnSpc>
        <a:spcBef>
          <a:spcPct val="20000"/>
        </a:spcBef>
        <a:buSzPct val="80000"/>
        <a:buFont typeface="Arial" pitchFamily="34" charset="0"/>
        <a:buChar char="•"/>
        <a:defRPr sz="2400" kern="1200">
          <a:gradFill>
            <a:gsLst>
              <a:gs pos="0">
                <a:srgbClr val="595959"/>
              </a:gs>
              <a:gs pos="86000">
                <a:srgbClr val="595959"/>
              </a:gs>
            </a:gsLst>
            <a:lin ang="5400000" scaled="0"/>
          </a:gradFill>
          <a:latin typeface="+mn-lt"/>
          <a:ea typeface="+mn-ea"/>
          <a:cs typeface="+mn-cs"/>
        </a:defRPr>
      </a:lvl1pPr>
      <a:lvl2pPr marL="641833" indent="-296506" algn="l" defTabSz="685864" rtl="0" eaLnBrk="1" latinLnBrk="0" hangingPunct="1">
        <a:lnSpc>
          <a:spcPct val="90000"/>
        </a:lnSpc>
        <a:spcBef>
          <a:spcPct val="20000"/>
        </a:spcBef>
        <a:buSzPct val="80000"/>
        <a:buFont typeface="Arial" pitchFamily="34" charset="0"/>
        <a:buChar char="•"/>
        <a:defRPr sz="2100" kern="1200">
          <a:gradFill>
            <a:gsLst>
              <a:gs pos="0">
                <a:srgbClr val="595959"/>
              </a:gs>
              <a:gs pos="86000">
                <a:srgbClr val="595959"/>
              </a:gs>
            </a:gsLst>
            <a:lin ang="5400000" scaled="0"/>
          </a:gradFill>
          <a:latin typeface="+mn-lt"/>
          <a:ea typeface="+mn-ea"/>
          <a:cs typeface="+mn-cs"/>
        </a:defRPr>
      </a:lvl2pPr>
      <a:lvl3pPr marL="944292" indent="-302459" algn="l" defTabSz="685864" rtl="0" eaLnBrk="1" latinLnBrk="0" hangingPunct="1">
        <a:lnSpc>
          <a:spcPct val="90000"/>
        </a:lnSpc>
        <a:spcBef>
          <a:spcPct val="20000"/>
        </a:spcBef>
        <a:buSzPct val="80000"/>
        <a:buFont typeface="Arial" pitchFamily="34" charset="0"/>
        <a:buChar char="•"/>
        <a:defRPr sz="1800" kern="1200">
          <a:gradFill>
            <a:gsLst>
              <a:gs pos="0">
                <a:srgbClr val="595959"/>
              </a:gs>
              <a:gs pos="86000">
                <a:srgbClr val="595959"/>
              </a:gs>
            </a:gsLst>
            <a:lin ang="5400000" scaled="0"/>
          </a:gradFill>
          <a:latin typeface="+mn-lt"/>
          <a:ea typeface="+mn-ea"/>
          <a:cs typeface="+mn-cs"/>
        </a:defRPr>
      </a:lvl3pPr>
      <a:lvl4pPr marL="1203883" indent="-259591"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4pPr>
      <a:lvl5pPr marL="1456329" indent="-252446" algn="l" defTabSz="685864" rtl="0" eaLnBrk="1" latinLnBrk="0" hangingPunct="1">
        <a:lnSpc>
          <a:spcPct val="90000"/>
        </a:lnSpc>
        <a:spcBef>
          <a:spcPct val="20000"/>
        </a:spcBef>
        <a:buSzPct val="80000"/>
        <a:buFont typeface="Arial" pitchFamily="34" charset="0"/>
        <a:buChar char="•"/>
        <a:defRPr sz="1500" kern="1200">
          <a:gradFill>
            <a:gsLst>
              <a:gs pos="0">
                <a:srgbClr val="595959"/>
              </a:gs>
              <a:gs pos="86000">
                <a:srgbClr val="595959"/>
              </a:gs>
            </a:gsLst>
            <a:lin ang="5400000" scaled="0"/>
          </a:gradFill>
          <a:latin typeface="+mn-lt"/>
          <a:ea typeface="+mn-ea"/>
          <a:cs typeface="+mn-cs"/>
        </a:defRPr>
      </a:lvl5pPr>
      <a:lvl6pPr marL="1886126"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058"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990"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922" indent="-171466" algn="l" defTabSz="685864"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64" rtl="0" eaLnBrk="1" latinLnBrk="0" hangingPunct="1">
        <a:defRPr sz="1400" kern="1200">
          <a:solidFill>
            <a:schemeClr val="tx1"/>
          </a:solidFill>
          <a:latin typeface="+mn-lt"/>
          <a:ea typeface="+mn-ea"/>
          <a:cs typeface="+mn-cs"/>
        </a:defRPr>
      </a:lvl1pPr>
      <a:lvl2pPr marL="342932" algn="l" defTabSz="685864" rtl="0" eaLnBrk="1" latinLnBrk="0" hangingPunct="1">
        <a:defRPr sz="1400" kern="1200">
          <a:solidFill>
            <a:schemeClr val="tx1"/>
          </a:solidFill>
          <a:latin typeface="+mn-lt"/>
          <a:ea typeface="+mn-ea"/>
          <a:cs typeface="+mn-cs"/>
        </a:defRPr>
      </a:lvl2pPr>
      <a:lvl3pPr marL="685864" algn="l" defTabSz="685864" rtl="0" eaLnBrk="1" latinLnBrk="0" hangingPunct="1">
        <a:defRPr sz="1400" kern="1200">
          <a:solidFill>
            <a:schemeClr val="tx1"/>
          </a:solidFill>
          <a:latin typeface="+mn-lt"/>
          <a:ea typeface="+mn-ea"/>
          <a:cs typeface="+mn-cs"/>
        </a:defRPr>
      </a:lvl3pPr>
      <a:lvl4pPr marL="1028796" algn="l" defTabSz="685864" rtl="0" eaLnBrk="1" latinLnBrk="0" hangingPunct="1">
        <a:defRPr sz="1400" kern="1200">
          <a:solidFill>
            <a:schemeClr val="tx1"/>
          </a:solidFill>
          <a:latin typeface="+mn-lt"/>
          <a:ea typeface="+mn-ea"/>
          <a:cs typeface="+mn-cs"/>
        </a:defRPr>
      </a:lvl4pPr>
      <a:lvl5pPr marL="1371728" algn="l" defTabSz="685864" rtl="0" eaLnBrk="1" latinLnBrk="0" hangingPunct="1">
        <a:defRPr sz="1400" kern="1200">
          <a:solidFill>
            <a:schemeClr val="tx1"/>
          </a:solidFill>
          <a:latin typeface="+mn-lt"/>
          <a:ea typeface="+mn-ea"/>
          <a:cs typeface="+mn-cs"/>
        </a:defRPr>
      </a:lvl5pPr>
      <a:lvl6pPr marL="1714660" algn="l" defTabSz="685864" rtl="0" eaLnBrk="1" latinLnBrk="0" hangingPunct="1">
        <a:defRPr sz="1400" kern="1200">
          <a:solidFill>
            <a:schemeClr val="tx1"/>
          </a:solidFill>
          <a:latin typeface="+mn-lt"/>
          <a:ea typeface="+mn-ea"/>
          <a:cs typeface="+mn-cs"/>
        </a:defRPr>
      </a:lvl6pPr>
      <a:lvl7pPr marL="2057592" algn="l" defTabSz="685864" rtl="0" eaLnBrk="1" latinLnBrk="0" hangingPunct="1">
        <a:defRPr sz="1400" kern="1200">
          <a:solidFill>
            <a:schemeClr val="tx1"/>
          </a:solidFill>
          <a:latin typeface="+mn-lt"/>
          <a:ea typeface="+mn-ea"/>
          <a:cs typeface="+mn-cs"/>
        </a:defRPr>
      </a:lvl7pPr>
      <a:lvl8pPr marL="2400524" algn="l" defTabSz="685864" rtl="0" eaLnBrk="1" latinLnBrk="0" hangingPunct="1">
        <a:defRPr sz="1400" kern="1200">
          <a:solidFill>
            <a:schemeClr val="tx1"/>
          </a:solidFill>
          <a:latin typeface="+mn-lt"/>
          <a:ea typeface="+mn-ea"/>
          <a:cs typeface="+mn-cs"/>
        </a:defRPr>
      </a:lvl8pPr>
      <a:lvl9pPr marL="2743456" algn="l" defTabSz="685864" rtl="0" eaLnBrk="1" latinLnBrk="0" hangingPunct="1">
        <a:defRPr sz="1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89436" y="171451"/>
            <a:ext cx="8363938" cy="56784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390627" y="1085851"/>
            <a:ext cx="8366320" cy="1541960"/>
          </a:xfrm>
          <a:prstGeom prst="rect">
            <a:avLst/>
          </a:prstGeom>
        </p:spPr>
        <p:txBody>
          <a:bodyPr vert="horz"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87292679"/>
      </p:ext>
    </p:extLst>
  </p:cSld>
  <p:clrMap bg1="lt1" tx1="dk1" bg2="lt2" tx2="dk2" accent1="accent1" accent2="accent2" accent3="accent3" accent4="accent4" accent5="accent5" accent6="accent6" hlink="hlink" folHlink="folHlink"/>
  <p:sldLayoutIdLst>
    <p:sldLayoutId id="2147483819" r:id="rId1"/>
    <p:sldLayoutId id="2147483820" r:id="rId2"/>
    <p:sldLayoutId id="2147483821" r:id="rId3"/>
    <p:sldLayoutId id="2147483822" r:id="rId4"/>
    <p:sldLayoutId id="2147483823" r:id="rId5"/>
    <p:sldLayoutId id="2147483824" r:id="rId6"/>
    <p:sldLayoutId id="2147483825" r:id="rId7"/>
    <p:sldLayoutId id="2147483826" r:id="rId8"/>
    <p:sldLayoutId id="2147483827" r:id="rId9"/>
    <p:sldLayoutId id="2147483828" r:id="rId10"/>
    <p:sldLayoutId id="2147483829" r:id="rId11"/>
    <p:sldLayoutId id="2147483830" r:id="rId12"/>
    <p:sldLayoutId id="2147483831" r:id="rId13"/>
    <p:sldLayoutId id="2147483832" r:id="rId14"/>
    <p:sldLayoutId id="2147483833" r:id="rId15"/>
    <p:sldLayoutId id="2147483834" r:id="rId16"/>
    <p:sldLayoutId id="2147483835" r:id="rId17"/>
    <p:sldLayoutId id="2147483836" r:id="rId18"/>
    <p:sldLayoutId id="2147483837" r:id="rId19"/>
    <p:sldLayoutId id="2147483838" r:id="rId20"/>
    <p:sldLayoutId id="2147483839" r:id="rId21"/>
    <p:sldLayoutId id="2147483840" r:id="rId22"/>
    <p:sldLayoutId id="2147483841" r:id="rId23"/>
    <p:sldLayoutId id="2147483842" r:id="rId24"/>
    <p:sldLayoutId id="2147483843" r:id="rId25"/>
    <p:sldLayoutId id="2147483844" r:id="rId26"/>
    <p:sldLayoutId id="2147483845" r:id="rId27"/>
    <p:sldLayoutId id="2147483846" r:id="rId28"/>
    <p:sldLayoutId id="2147483847" r:id="rId29"/>
  </p:sldLayoutIdLst>
  <p:transition>
    <p:fade/>
  </p:transition>
  <p:timing>
    <p:tnLst>
      <p:par>
        <p:cTn id="1" dur="indefinite" restart="never" nodeType="tmRoot"/>
      </p:par>
    </p:tnLst>
  </p:timing>
  <p:txStyles>
    <p:titleStyle>
      <a:lvl1pPr algn="l" defTabSz="685835" rtl="0" eaLnBrk="1" latinLnBrk="0" hangingPunct="1">
        <a:lnSpc>
          <a:spcPct val="90000"/>
        </a:lnSpc>
        <a:spcBef>
          <a:spcPct val="0"/>
        </a:spcBef>
        <a:buNone/>
        <a:defRPr lang="en-US" sz="4100" b="0" kern="1200" cap="none" spc="-75" baseline="0" dirty="0" smtClean="0">
          <a:ln w="3175">
            <a:noFill/>
          </a:ln>
          <a:solidFill>
            <a:schemeClr val="tx1">
              <a:alpha val="99000"/>
            </a:schemeClr>
          </a:solidFill>
          <a:effectLst/>
          <a:latin typeface="+mj-lt"/>
          <a:ea typeface="+mn-ea"/>
          <a:cs typeface="Arial" charset="0"/>
        </a:defRPr>
      </a:lvl1pPr>
    </p:titleStyle>
    <p:bodyStyle>
      <a:lvl1pPr marL="254817" marR="0" indent="-254817" algn="l" defTabSz="685835" rtl="0" eaLnBrk="1" fontAlgn="auto" latinLnBrk="0" hangingPunct="1">
        <a:lnSpc>
          <a:spcPct val="90000"/>
        </a:lnSpc>
        <a:spcBef>
          <a:spcPct val="20000"/>
        </a:spcBef>
        <a:spcAft>
          <a:spcPts val="0"/>
        </a:spcAft>
        <a:buClrTx/>
        <a:buSzPct val="90000"/>
        <a:buFont typeface="Arial" pitchFamily="34" charset="0"/>
        <a:buChar char="•"/>
        <a:tabLst/>
        <a:defRPr sz="2700" kern="1200" spc="-53" baseline="0">
          <a:solidFill>
            <a:schemeClr val="tx1">
              <a:alpha val="99000"/>
            </a:schemeClr>
          </a:solidFill>
          <a:latin typeface="+mj-lt"/>
          <a:ea typeface="+mn-ea"/>
          <a:cs typeface="+mn-cs"/>
        </a:defRPr>
      </a:lvl1pPr>
      <a:lvl2pPr marL="429855"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solidFill>
            <a:schemeClr val="tx1">
              <a:alpha val="99000"/>
            </a:schemeClr>
          </a:solidFill>
          <a:latin typeface="+mn-lt"/>
          <a:ea typeface="+mn-ea"/>
          <a:cs typeface="+mn-cs"/>
        </a:defRPr>
      </a:lvl2pPr>
      <a:lvl3pPr marL="598940" marR="0" indent="-169084" algn="l" defTabSz="685835" rtl="0" eaLnBrk="1" fontAlgn="auto" latinLnBrk="0" hangingPunct="1">
        <a:lnSpc>
          <a:spcPct val="90000"/>
        </a:lnSpc>
        <a:spcBef>
          <a:spcPct val="20000"/>
        </a:spcBef>
        <a:spcAft>
          <a:spcPts val="0"/>
        </a:spcAft>
        <a:buClrTx/>
        <a:buSzPct val="90000"/>
        <a:buFont typeface="Wingdings" pitchFamily="2" charset="2"/>
        <a:buChar char=""/>
        <a:tabLst>
          <a:tab pos="598940" algn="l"/>
        </a:tabLst>
        <a:defRPr sz="1800" kern="1200" spc="0" baseline="0">
          <a:solidFill>
            <a:schemeClr val="tx1">
              <a:alpha val="99000"/>
            </a:schemeClr>
          </a:solidFill>
          <a:latin typeface="+mn-lt"/>
          <a:ea typeface="+mn-ea"/>
          <a:cs typeface="+mn-cs"/>
        </a:defRPr>
      </a:lvl3pPr>
      <a:lvl4pPr marL="772787" marR="0" indent="-173847"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solidFill>
            <a:schemeClr val="tx1">
              <a:alpha val="99000"/>
            </a:schemeClr>
          </a:solidFill>
          <a:latin typeface="+mn-lt"/>
          <a:ea typeface="+mn-ea"/>
          <a:cs typeface="+mn-cs"/>
        </a:defRPr>
      </a:lvl4pPr>
      <a:lvl5pPr marL="941871" marR="0" indent="-169084" algn="l" defTabSz="685835" rtl="0" eaLnBrk="1" fontAlgn="auto" latinLnBrk="0" hangingPunct="1">
        <a:lnSpc>
          <a:spcPct val="90000"/>
        </a:lnSpc>
        <a:spcBef>
          <a:spcPct val="20000"/>
        </a:spcBef>
        <a:spcAft>
          <a:spcPts val="0"/>
        </a:spcAft>
        <a:buClrTx/>
        <a:buSzPct val="90000"/>
        <a:buFont typeface="Wingdings" pitchFamily="2" charset="2"/>
        <a:buChar char=""/>
        <a:tabLst>
          <a:tab pos="941871" algn="l"/>
        </a:tabLst>
        <a:defRPr sz="1500" kern="1200" spc="0" baseline="0">
          <a:solidFill>
            <a:schemeClr val="tx1">
              <a:alpha val="99000"/>
            </a:schemeClr>
          </a:soli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35" rtl="0" eaLnBrk="1" latinLnBrk="0" hangingPunct="1">
        <a:defRPr sz="1400" kern="1200">
          <a:solidFill>
            <a:schemeClr val="tx1"/>
          </a:solidFill>
          <a:latin typeface="+mn-lt"/>
          <a:ea typeface="+mn-ea"/>
          <a:cs typeface="+mn-cs"/>
        </a:defRPr>
      </a:lvl1pPr>
      <a:lvl2pPr marL="342918" algn="l" defTabSz="685835" rtl="0" eaLnBrk="1" latinLnBrk="0" hangingPunct="1">
        <a:defRPr sz="1400" kern="1200">
          <a:solidFill>
            <a:schemeClr val="tx1"/>
          </a:solidFill>
          <a:latin typeface="+mn-lt"/>
          <a:ea typeface="+mn-ea"/>
          <a:cs typeface="+mn-cs"/>
        </a:defRPr>
      </a:lvl2pPr>
      <a:lvl3pPr marL="685835" algn="l" defTabSz="685835" rtl="0" eaLnBrk="1" latinLnBrk="0" hangingPunct="1">
        <a:defRPr sz="1400" kern="1200">
          <a:solidFill>
            <a:schemeClr val="tx1"/>
          </a:solidFill>
          <a:latin typeface="+mn-lt"/>
          <a:ea typeface="+mn-ea"/>
          <a:cs typeface="+mn-cs"/>
        </a:defRPr>
      </a:lvl3pPr>
      <a:lvl4pPr marL="1028753" algn="l" defTabSz="685835" rtl="0" eaLnBrk="1" latinLnBrk="0" hangingPunct="1">
        <a:defRPr sz="1400" kern="1200">
          <a:solidFill>
            <a:schemeClr val="tx1"/>
          </a:solidFill>
          <a:latin typeface="+mn-lt"/>
          <a:ea typeface="+mn-ea"/>
          <a:cs typeface="+mn-cs"/>
        </a:defRPr>
      </a:lvl4pPr>
      <a:lvl5pPr marL="1371671" algn="l" defTabSz="685835" rtl="0" eaLnBrk="1" latinLnBrk="0" hangingPunct="1">
        <a:defRPr sz="1400" kern="1200">
          <a:solidFill>
            <a:schemeClr val="tx1"/>
          </a:solidFill>
          <a:latin typeface="+mn-lt"/>
          <a:ea typeface="+mn-ea"/>
          <a:cs typeface="+mn-cs"/>
        </a:defRPr>
      </a:lvl5pPr>
      <a:lvl6pPr marL="1714588" algn="l" defTabSz="685835" rtl="0" eaLnBrk="1" latinLnBrk="0" hangingPunct="1">
        <a:defRPr sz="1400" kern="1200">
          <a:solidFill>
            <a:schemeClr val="tx1"/>
          </a:solidFill>
          <a:latin typeface="+mn-lt"/>
          <a:ea typeface="+mn-ea"/>
          <a:cs typeface="+mn-cs"/>
        </a:defRPr>
      </a:lvl6pPr>
      <a:lvl7pPr marL="2057506" algn="l" defTabSz="685835" rtl="0" eaLnBrk="1" latinLnBrk="0" hangingPunct="1">
        <a:defRPr sz="1400" kern="1200">
          <a:solidFill>
            <a:schemeClr val="tx1"/>
          </a:solidFill>
          <a:latin typeface="+mn-lt"/>
          <a:ea typeface="+mn-ea"/>
          <a:cs typeface="+mn-cs"/>
        </a:defRPr>
      </a:lvl7pPr>
      <a:lvl8pPr marL="2400424" algn="l" defTabSz="685835" rtl="0" eaLnBrk="1" latinLnBrk="0" hangingPunct="1">
        <a:defRPr sz="1400" kern="1200">
          <a:solidFill>
            <a:schemeClr val="tx1"/>
          </a:solidFill>
          <a:latin typeface="+mn-lt"/>
          <a:ea typeface="+mn-ea"/>
          <a:cs typeface="+mn-cs"/>
        </a:defRPr>
      </a:lvl8pPr>
      <a:lvl9pPr marL="2743341" algn="l" defTabSz="685835"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7.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slideLayout" Target="../slideLayouts/slideLayout6.xml"/><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tags" Target="../tags/tag18.xml"/><Relationship Id="rId2" Type="http://schemas.openxmlformats.org/officeDocument/2006/relationships/tags" Target="../tags/tag8.xml"/><Relationship Id="rId16" Type="http://schemas.openxmlformats.org/officeDocument/2006/relationships/image" Target="../media/image48.emf"/><Relationship Id="rId1" Type="http://schemas.openxmlformats.org/officeDocument/2006/relationships/vmlDrawing" Target="../drawings/vmlDrawing1.vml"/><Relationship Id="rId6" Type="http://schemas.openxmlformats.org/officeDocument/2006/relationships/tags" Target="../tags/tag12.xml"/><Relationship Id="rId11" Type="http://schemas.openxmlformats.org/officeDocument/2006/relationships/tags" Target="../tags/tag17.xml"/><Relationship Id="rId5" Type="http://schemas.openxmlformats.org/officeDocument/2006/relationships/tags" Target="../tags/tag11.xml"/><Relationship Id="rId15" Type="http://schemas.openxmlformats.org/officeDocument/2006/relationships/oleObject" Target="../embeddings/oleObject1.bin"/><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notesSlide" Target="../notesSlides/notesSlide23.xml"/><Relationship Id="rId3" Type="http://schemas.openxmlformats.org/officeDocument/2006/relationships/tags" Target="../tags/tag20.xml"/><Relationship Id="rId7" Type="http://schemas.openxmlformats.org/officeDocument/2006/relationships/slideLayout" Target="../slideLayouts/slideLayout6.xml"/><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48.emf"/><Relationship Id="rId4" Type="http://schemas.openxmlformats.org/officeDocument/2006/relationships/tags" Target="../tags/tag21.xml"/><Relationship Id="rId9" Type="http://schemas.openxmlformats.org/officeDocument/2006/relationships/oleObject" Target="../embeddings/oleObject2.bin"/></Relationships>
</file>

<file path=ppt/slides/_rels/slide24.xml.rels><?xml version="1.0" encoding="UTF-8" standalone="yes"?>
<Relationships xmlns="http://schemas.openxmlformats.org/package/2006/relationships"><Relationship Id="rId8" Type="http://schemas.openxmlformats.org/officeDocument/2006/relationships/tags" Target="../tags/tag30.xml"/><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48.emf"/><Relationship Id="rId2" Type="http://schemas.openxmlformats.org/officeDocument/2006/relationships/tags" Target="../tags/tag24.xml"/><Relationship Id="rId1" Type="http://schemas.openxmlformats.org/officeDocument/2006/relationships/vmlDrawing" Target="../drawings/vmlDrawing3.vml"/><Relationship Id="rId6" Type="http://schemas.openxmlformats.org/officeDocument/2006/relationships/tags" Target="../tags/tag28.xml"/><Relationship Id="rId11" Type="http://schemas.openxmlformats.org/officeDocument/2006/relationships/oleObject" Target="../embeddings/oleObject3.bin"/><Relationship Id="rId5" Type="http://schemas.openxmlformats.org/officeDocument/2006/relationships/tags" Target="../tags/tag27.xml"/><Relationship Id="rId10" Type="http://schemas.openxmlformats.org/officeDocument/2006/relationships/notesSlide" Target="../notesSlides/notesSlide24.xml"/><Relationship Id="rId4" Type="http://schemas.openxmlformats.org/officeDocument/2006/relationships/tags" Target="../tags/tag26.xml"/><Relationship Id="rId9"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3" Type="http://schemas.openxmlformats.org/officeDocument/2006/relationships/tags" Target="../tags/tag33.xml"/><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notesSlide" Target="../notesSlides/notesSlide34.xml"/><Relationship Id="rId1" Type="http://schemas.openxmlformats.org/officeDocument/2006/relationships/tags" Target="../tags/tag31.xml"/><Relationship Id="rId6" Type="http://schemas.openxmlformats.org/officeDocument/2006/relationships/tags" Target="../tags/tag36.xml"/><Relationship Id="rId11" Type="http://schemas.openxmlformats.org/officeDocument/2006/relationships/tags" Target="../tags/tag41.xml"/><Relationship Id="rId5" Type="http://schemas.openxmlformats.org/officeDocument/2006/relationships/tags" Target="../tags/tag35.xml"/><Relationship Id="rId15" Type="http://schemas.openxmlformats.org/officeDocument/2006/relationships/tags" Target="../tags/tag45.xml"/><Relationship Id="rId10" Type="http://schemas.openxmlformats.org/officeDocument/2006/relationships/tags" Target="../tags/tag40.xml"/><Relationship Id="rId19" Type="http://schemas.openxmlformats.org/officeDocument/2006/relationships/slideLayout" Target="../slideLayouts/slideLayout6.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s>
</file>

<file path=ppt/slides/_rels/slide35.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tags" Target="../tags/tag60.xml"/><Relationship Id="rId2" Type="http://schemas.openxmlformats.org/officeDocument/2006/relationships/tags" Target="../tags/tag50.xml"/><Relationship Id="rId16" Type="http://schemas.openxmlformats.org/officeDocument/2006/relationships/notesSlide" Target="../notesSlides/notesSlide35.xml"/><Relationship Id="rId1" Type="http://schemas.openxmlformats.org/officeDocument/2006/relationships/tags" Target="../tags/tag49.x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slideLayout" Target="../slideLayouts/slideLayout6.xml"/><Relationship Id="rId10" Type="http://schemas.openxmlformats.org/officeDocument/2006/relationships/tags" Target="../tags/tag58.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s>
</file>

<file path=ppt/slides/_rels/slide36.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image" Target="../media/image49.png"/><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image" Target="../media/image48.emf"/><Relationship Id="rId2" Type="http://schemas.openxmlformats.org/officeDocument/2006/relationships/tags" Target="../tags/tag63.xml"/><Relationship Id="rId1" Type="http://schemas.openxmlformats.org/officeDocument/2006/relationships/vmlDrawing" Target="../drawings/vmlDrawing4.vml"/><Relationship Id="rId6" Type="http://schemas.openxmlformats.org/officeDocument/2006/relationships/tags" Target="../tags/tag67.xml"/><Relationship Id="rId11" Type="http://schemas.openxmlformats.org/officeDocument/2006/relationships/oleObject" Target="../embeddings/oleObject4.bin"/><Relationship Id="rId5" Type="http://schemas.openxmlformats.org/officeDocument/2006/relationships/tags" Target="../tags/tag66.xml"/><Relationship Id="rId10" Type="http://schemas.openxmlformats.org/officeDocument/2006/relationships/notesSlide" Target="../notesSlides/notesSlide36.xml"/><Relationship Id="rId4" Type="http://schemas.openxmlformats.org/officeDocument/2006/relationships/tags" Target="../tags/tag65.xml"/><Relationship Id="rId9"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37.xml"/><Relationship Id="rId1" Type="http://schemas.openxmlformats.org/officeDocument/2006/relationships/slideLayout" Target="../slideLayouts/slideLayout24.xml"/><Relationship Id="rId4" Type="http://schemas.microsoft.com/office/2007/relationships/hdphoto" Target="../media/hdphoto16.wdp"/></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png"/><Relationship Id="rId2" Type="http://schemas.openxmlformats.org/officeDocument/2006/relationships/notesSlide" Target="../notesSlides/notesSlide40.xml"/><Relationship Id="rId1" Type="http://schemas.openxmlformats.org/officeDocument/2006/relationships/slideLayout" Target="../slideLayouts/slideLayout6.xml"/><Relationship Id="rId6" Type="http://schemas.openxmlformats.org/officeDocument/2006/relationships/image" Target="../media/image54.png"/><Relationship Id="rId5" Type="http://schemas.openxmlformats.org/officeDocument/2006/relationships/image" Target="../media/image53.png"/><Relationship Id="rId10" Type="http://schemas.microsoft.com/office/2007/relationships/hdphoto" Target="../media/hdphoto17.wdp"/><Relationship Id="rId4" Type="http://schemas.openxmlformats.org/officeDocument/2006/relationships/image" Target="../media/image52.png"/><Relationship Id="rId9" Type="http://schemas.openxmlformats.org/officeDocument/2006/relationships/image" Target="../media/image57.png"/></Relationships>
</file>

<file path=ppt/slides/_rels/slide41.xml.rels><?xml version="1.0" encoding="UTF-8" standalone="yes"?>
<Relationships xmlns="http://schemas.openxmlformats.org/package/2006/relationships"><Relationship Id="rId8" Type="http://schemas.openxmlformats.org/officeDocument/2006/relationships/tags" Target="../tags/tag77.xml"/><Relationship Id="rId3" Type="http://schemas.openxmlformats.org/officeDocument/2006/relationships/tags" Target="../tags/tag72.xml"/><Relationship Id="rId7" Type="http://schemas.openxmlformats.org/officeDocument/2006/relationships/tags" Target="../tags/tag76.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tags" Target="../tags/tag75.xml"/><Relationship Id="rId5" Type="http://schemas.openxmlformats.org/officeDocument/2006/relationships/tags" Target="../tags/tag74.xml"/><Relationship Id="rId10" Type="http://schemas.openxmlformats.org/officeDocument/2006/relationships/notesSlide" Target="../notesSlides/notesSlide41.xml"/><Relationship Id="rId4" Type="http://schemas.openxmlformats.org/officeDocument/2006/relationships/tags" Target="../tags/tag73.xml"/><Relationship Id="rId9"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6.xml"/></Relationships>
</file>

<file path=ppt/slides/_rels/slide43.xml.rels><?xml version="1.0" encoding="UTF-8" standalone="yes"?>
<Relationships xmlns="http://schemas.openxmlformats.org/package/2006/relationships"><Relationship Id="rId8" Type="http://schemas.openxmlformats.org/officeDocument/2006/relationships/tags" Target="../tags/tag85.xml"/><Relationship Id="rId3" Type="http://schemas.openxmlformats.org/officeDocument/2006/relationships/tags" Target="../tags/tag80.xml"/><Relationship Id="rId7" Type="http://schemas.openxmlformats.org/officeDocument/2006/relationships/tags" Target="../tags/tag84.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10" Type="http://schemas.openxmlformats.org/officeDocument/2006/relationships/notesSlide" Target="../notesSlides/notesSlide43.xml"/><Relationship Id="rId4" Type="http://schemas.openxmlformats.org/officeDocument/2006/relationships/tags" Target="../tags/tag81.xml"/><Relationship Id="rId9" Type="http://schemas.openxmlformats.org/officeDocument/2006/relationships/slideLayout" Target="../slideLayouts/slideLayout86.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9.xml"/></Relationships>
</file>

<file path=ppt/slides/_rels/slide45.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45.xml"/><Relationship Id="rId1" Type="http://schemas.openxmlformats.org/officeDocument/2006/relationships/slideLayout" Target="../slideLayouts/slideLayout63.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46.xml.rels><?xml version="1.0" encoding="UTF-8" standalone="yes"?>
<Relationships xmlns="http://schemas.openxmlformats.org/package/2006/relationships"><Relationship Id="rId3" Type="http://schemas.openxmlformats.org/officeDocument/2006/relationships/notesSlide" Target="../notesSlides/notesSlide46.xml"/><Relationship Id="rId2" Type="http://schemas.openxmlformats.org/officeDocument/2006/relationships/slideLayout" Target="../slideLayouts/slideLayout140.xml"/><Relationship Id="rId1" Type="http://schemas.openxmlformats.org/officeDocument/2006/relationships/tags" Target="../tags/tag86.xml"/><Relationship Id="rId4" Type="http://schemas.openxmlformats.org/officeDocument/2006/relationships/image" Target="../media/image1.png"/></Relationships>
</file>

<file path=ppt/slides/_rels/slide4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7.xml"/><Relationship Id="rId1" Type="http://schemas.openxmlformats.org/officeDocument/2006/relationships/slideLayout" Target="../slideLayouts/slideLayout153.xml"/></Relationships>
</file>

<file path=ppt/slides/_rels/slide4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8.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4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9.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1.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23.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microsoft.com/office/2007/relationships/hdphoto" Target="../media/hdphoto15.wdp"/><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image" Target="../media/image43.png"/><Relationship Id="rId5" Type="http://schemas.microsoft.com/office/2007/relationships/hdphoto" Target="../media/hdphoto14.wdp"/><Relationship Id="rId4" Type="http://schemas.openxmlformats.org/officeDocument/2006/relationships/image" Target="../media/image4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89442" y="1675586"/>
            <a:ext cx="8440793" cy="1019397"/>
          </a:xfrm>
        </p:spPr>
        <p:txBody>
          <a:bodyPr/>
          <a:lstStyle/>
          <a:p>
            <a:r>
              <a:rPr lang="en-US" sz="4000" dirty="0"/>
              <a:t>Windows </a:t>
            </a:r>
            <a:r>
              <a:rPr lang="en-US" sz="4000" dirty="0" smtClean="0"/>
              <a:t>Azure Virtual Machines</a:t>
            </a:r>
            <a:endParaRPr lang="en-US" sz="4000" dirty="0"/>
          </a:p>
        </p:txBody>
      </p:sp>
      <p:sp>
        <p:nvSpPr>
          <p:cNvPr id="5" name="Subtitle 4"/>
          <p:cNvSpPr>
            <a:spLocks noGrp="1"/>
          </p:cNvSpPr>
          <p:nvPr>
            <p:ph type="body" sz="quarter" idx="11"/>
          </p:nvPr>
        </p:nvSpPr>
        <p:spPr/>
        <p:txBody>
          <a:bodyPr>
            <a:normAutofit/>
          </a:bodyPr>
          <a:lstStyle/>
          <a:p>
            <a:r>
              <a:rPr lang="en-US" dirty="0" smtClean="0"/>
              <a:t>Andrew Westgarth</a:t>
            </a:r>
            <a:endParaRPr lang="en-US" dirty="0" smtClean="0"/>
          </a:p>
          <a:p>
            <a:r>
              <a:rPr lang="en-US" dirty="0" smtClean="0"/>
              <a:t>MVP </a:t>
            </a:r>
            <a:r>
              <a:rPr lang="en-US" dirty="0" err="1" smtClean="0"/>
              <a:t>ASP.Net</a:t>
            </a:r>
            <a:r>
              <a:rPr lang="en-US" dirty="0" smtClean="0"/>
              <a:t>/IIS</a:t>
            </a:r>
            <a:endParaRPr lang="en-US" dirty="0" smtClean="0"/>
          </a:p>
          <a:p>
            <a:r>
              <a:rPr lang="en-US" dirty="0" smtClean="0"/>
              <a:t>@</a:t>
            </a:r>
            <a:r>
              <a:rPr lang="en-US" dirty="0" err="1" smtClean="0"/>
              <a:t>apwestgarth</a:t>
            </a:r>
            <a:endParaRPr lang="en-US" dirty="0" smtClean="0"/>
          </a:p>
        </p:txBody>
      </p:sp>
    </p:spTree>
    <p:extLst>
      <p:ext uri="{BB962C8B-B14F-4D97-AF65-F5344CB8AC3E}">
        <p14:creationId xmlns:p14="http://schemas.microsoft.com/office/powerpoint/2010/main" val="377238294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381004" y="819150"/>
            <a:ext cx="8382001" cy="3886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ing VMs in the Cloud</a:t>
            </a:r>
          </a:p>
        </p:txBody>
      </p:sp>
      <p:sp>
        <p:nvSpPr>
          <p:cNvPr id="4" name="Rectangle 3"/>
          <p:cNvSpPr/>
          <p:nvPr/>
        </p:nvSpPr>
        <p:spPr bwMode="auto">
          <a:xfrm>
            <a:off x="381004" y="828676"/>
            <a:ext cx="8382001"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25" name="Can 24"/>
          <p:cNvSpPr/>
          <p:nvPr>
            <p:custDataLst>
              <p:tags r:id="rId1"/>
            </p:custDataLst>
          </p:nvPr>
        </p:nvSpPr>
        <p:spPr>
          <a:xfrm>
            <a:off x="990600" y="1668124"/>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47" name="Group 46"/>
          <p:cNvGrpSpPr/>
          <p:nvPr/>
        </p:nvGrpSpPr>
        <p:grpSpPr>
          <a:xfrm>
            <a:off x="2194905" y="3754000"/>
            <a:ext cx="758516" cy="844592"/>
            <a:chOff x="2194904" y="3754000"/>
            <a:chExt cx="758516" cy="844592"/>
          </a:xfrm>
        </p:grpSpPr>
        <p:sp>
          <p:nvSpPr>
            <p:cNvPr id="32" name="Right Arrow 31"/>
            <p:cNvSpPr/>
            <p:nvPr/>
          </p:nvSpPr>
          <p:spPr bwMode="auto">
            <a:xfrm rot="7222079">
              <a:off x="2774251" y="3733737"/>
              <a:ext cx="102681" cy="143208"/>
            </a:xfrm>
            <a:prstGeom prst="rightArrow">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0" name="Freeform 29"/>
            <p:cNvSpPr/>
            <p:nvPr/>
          </p:nvSpPr>
          <p:spPr>
            <a:xfrm>
              <a:off x="219490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ustom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8" name="Group 47"/>
          <p:cNvGrpSpPr/>
          <p:nvPr/>
        </p:nvGrpSpPr>
        <p:grpSpPr>
          <a:xfrm>
            <a:off x="3000879" y="3840274"/>
            <a:ext cx="906699" cy="758318"/>
            <a:chOff x="3000875" y="3840274"/>
            <a:chExt cx="906699" cy="758318"/>
          </a:xfrm>
        </p:grpSpPr>
        <p:sp>
          <p:nvSpPr>
            <p:cNvPr id="33" name="Right Arrow 32"/>
            <p:cNvSpPr/>
            <p:nvPr/>
          </p:nvSpPr>
          <p:spPr bwMode="auto">
            <a:xfrm>
              <a:off x="3000875" y="4147830"/>
              <a:ext cx="102681" cy="143208"/>
            </a:xfrm>
            <a:prstGeom prs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149058"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6"/>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Generaliz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HD</a:t>
              </a:r>
            </a:p>
          </p:txBody>
        </p:sp>
      </p:grpSp>
      <p:grpSp>
        <p:nvGrpSpPr>
          <p:cNvPr id="49" name="Group 48"/>
          <p:cNvGrpSpPr/>
          <p:nvPr/>
        </p:nvGrpSpPr>
        <p:grpSpPr>
          <a:xfrm>
            <a:off x="3925291" y="2014703"/>
            <a:ext cx="4685313" cy="2583891"/>
            <a:chOff x="3925287" y="2014701"/>
            <a:chExt cx="4685313" cy="2583891"/>
          </a:xfrm>
        </p:grpSpPr>
        <p:grpSp>
          <p:nvGrpSpPr>
            <p:cNvPr id="45" name="Group 44"/>
            <p:cNvGrpSpPr/>
            <p:nvPr/>
          </p:nvGrpSpPr>
          <p:grpSpPr>
            <a:xfrm>
              <a:off x="4042084" y="2014701"/>
              <a:ext cx="4568516" cy="2583891"/>
              <a:chOff x="4042084" y="2014701"/>
              <a:chExt cx="4568516" cy="2583891"/>
            </a:xfrm>
          </p:grpSpPr>
          <p:sp>
            <p:nvSpPr>
              <p:cNvPr id="39"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29" name="Freeform 28"/>
              <p:cNvSpPr/>
              <p:nvPr/>
            </p:nvSpPr>
            <p:spPr>
              <a:xfrm>
                <a:off x="4042084" y="3840274"/>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5"/>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Capture</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5" name="Right Arrow 34"/>
              <p:cNvSpPr/>
              <p:nvPr/>
            </p:nvSpPr>
            <p:spPr bwMode="auto">
              <a:xfrm rot="19247508">
                <a:off x="4749259" y="3906053"/>
                <a:ext cx="102681" cy="143208"/>
              </a:xfrm>
              <a:prstGeom prst="right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sp>
          <p:nvSpPr>
            <p:cNvPr id="34" name="Right Arrow 33"/>
            <p:cNvSpPr/>
            <p:nvPr/>
          </p:nvSpPr>
          <p:spPr bwMode="auto">
            <a:xfrm>
              <a:off x="3925287" y="4126568"/>
              <a:ext cx="102681" cy="143208"/>
            </a:xfrm>
            <a:prstGeom prst="rightArrow">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7" name="Group 6"/>
          <p:cNvGrpSpPr/>
          <p:nvPr/>
        </p:nvGrpSpPr>
        <p:grpSpPr>
          <a:xfrm>
            <a:off x="1972304" y="1566589"/>
            <a:ext cx="2066296" cy="2210282"/>
            <a:chOff x="1972304" y="1566589"/>
            <a:chExt cx="2066296" cy="2210282"/>
          </a:xfrm>
        </p:grpSpPr>
        <p:grpSp>
          <p:nvGrpSpPr>
            <p:cNvPr id="26" name="Group 25"/>
            <p:cNvGrpSpPr/>
            <p:nvPr/>
          </p:nvGrpSpPr>
          <p:grpSpPr>
            <a:xfrm>
              <a:off x="3200399" y="1566589"/>
              <a:ext cx="838201" cy="1113144"/>
              <a:chOff x="3200399" y="1566589"/>
              <a:chExt cx="838201" cy="1113144"/>
            </a:xfrm>
          </p:grpSpPr>
          <p:sp>
            <p:nvSpPr>
              <p:cNvPr id="27" name="Folded Corner 26"/>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8" name="TextBox 27"/>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Base.VHD</a:t>
                </a:r>
                <a:endParaRPr lang="en-US" sz="1200" dirty="0">
                  <a:solidFill>
                    <a:schemeClr val="tx2">
                      <a:alpha val="99000"/>
                    </a:schemeClr>
                  </a:solidFill>
                  <a:latin typeface="+mn-lt"/>
                </a:endParaRPr>
              </a:p>
            </p:txBody>
          </p:sp>
        </p:grpSp>
        <p:sp>
          <p:nvSpPr>
            <p:cNvPr id="15" name="Right Arrow 14"/>
            <p:cNvSpPr/>
            <p:nvPr/>
          </p:nvSpPr>
          <p:spPr bwMode="auto">
            <a:xfrm rot="7222079">
              <a:off x="3264047"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1" name="Freeform 30"/>
            <p:cNvSpPr/>
            <p:nvPr/>
          </p:nvSpPr>
          <p:spPr>
            <a:xfrm>
              <a:off x="2724298" y="3018553"/>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Boot</a:t>
              </a:r>
            </a:p>
            <a:p>
              <a:pPr algn="ctr" defTabSz="685318" fontAlgn="base">
                <a:lnSpc>
                  <a:spcPct val="90000"/>
                </a:lnSpc>
                <a:spcBef>
                  <a:spcPct val="0"/>
                </a:spcBef>
                <a:spcAft>
                  <a:spcPct val="0"/>
                </a:spcAft>
              </a:pPr>
              <a:r>
                <a:rPr lang="en-US" sz="1100" b="1" dirty="0">
                  <a:ln>
                    <a:solidFill>
                      <a:schemeClr val="bg1">
                        <a:alpha val="0"/>
                      </a:schemeClr>
                    </a:solidFill>
                  </a:ln>
                  <a:solidFill>
                    <a:schemeClr val="bg1">
                      <a:alpha val="99000"/>
                    </a:schemeClr>
                  </a:solidFill>
                </a:rPr>
                <a:t>VM</a:t>
              </a:r>
            </a:p>
          </p:txBody>
        </p:sp>
        <p:sp>
          <p:nvSpPr>
            <p:cNvPr id="36" name="Right Arrow 35"/>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grpSp>
        <p:nvGrpSpPr>
          <p:cNvPr id="46" name="Group 45"/>
          <p:cNvGrpSpPr/>
          <p:nvPr/>
        </p:nvGrpSpPr>
        <p:grpSpPr>
          <a:xfrm>
            <a:off x="5054386" y="1623465"/>
            <a:ext cx="3579685" cy="2893996"/>
            <a:chOff x="5054384" y="1623463"/>
            <a:chExt cx="3579685" cy="2893996"/>
          </a:xfrm>
        </p:grpSpPr>
        <p:sp>
          <p:nvSpPr>
            <p:cNvPr id="19" name="Right Arrow 18"/>
            <p:cNvSpPr/>
            <p:nvPr/>
          </p:nvSpPr>
          <p:spPr bwMode="auto">
            <a:xfrm>
              <a:off x="5928754" y="309042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6483691" y="2591247"/>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5897611" y="1623463"/>
              <a:ext cx="273645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a:solidFill>
                    <a:schemeClr val="tx2">
                      <a:alpha val="99000"/>
                    </a:schemeClr>
                  </a:solidFill>
                  <a:latin typeface="+mn-lt"/>
                </a:rPr>
                <a:t>Identical/similar deployment instances using common OS image as start</a:t>
              </a:r>
            </a:p>
          </p:txBody>
        </p:sp>
        <p:sp>
          <p:nvSpPr>
            <p:cNvPr id="37" name="Right Arrow 36"/>
            <p:cNvSpPr/>
            <p:nvPr/>
          </p:nvSpPr>
          <p:spPr bwMode="auto">
            <a:xfrm>
              <a:off x="5928754" y="2579873"/>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8" name="Right Arrow 37"/>
            <p:cNvSpPr/>
            <p:nvPr/>
          </p:nvSpPr>
          <p:spPr bwMode="auto">
            <a:xfrm>
              <a:off x="5928754" y="3598892"/>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40" name="Freeform 24"/>
            <p:cNvSpPr>
              <a:spLocks noEditPoints="1"/>
            </p:cNvSpPr>
            <p:nvPr/>
          </p:nvSpPr>
          <p:spPr bwMode="black">
            <a:xfrm>
              <a:off x="6483691" y="3113211"/>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1" name="Freeform 24"/>
            <p:cNvSpPr>
              <a:spLocks noEditPoints="1"/>
            </p:cNvSpPr>
            <p:nvPr/>
          </p:nvSpPr>
          <p:spPr bwMode="black">
            <a:xfrm>
              <a:off x="6483691" y="3635175"/>
              <a:ext cx="553218" cy="4273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5054384" y="4224291"/>
              <a:ext cx="2428338"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200" dirty="0">
                  <a:solidFill>
                    <a:schemeClr val="tx2">
                      <a:alpha val="99000"/>
                    </a:schemeClr>
                  </a:solidFill>
                  <a:latin typeface="+mn-lt"/>
                </a:rPr>
                <a:t>Capture VM Saves Customized Image to Your Image Library</a:t>
              </a:r>
            </a:p>
          </p:txBody>
        </p:sp>
      </p:grpSp>
    </p:spTree>
    <p:extLst>
      <p:ext uri="{BB962C8B-B14F-4D97-AF65-F5344CB8AC3E}">
        <p14:creationId xmlns:p14="http://schemas.microsoft.com/office/powerpoint/2010/main" val="191210863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7"/>
                                        </p:tgtEl>
                                        <p:attrNameLst>
                                          <p:attrName>style.visibility</p:attrName>
                                        </p:attrNameLst>
                                      </p:cBhvr>
                                      <p:to>
                                        <p:strVal val="visible"/>
                                      </p:to>
                                    </p:set>
                                    <p:animEffect transition="in" filter="fade">
                                      <p:cBhvr>
                                        <p:cTn id="12" dur="500"/>
                                        <p:tgtEl>
                                          <p:spTgt spid="4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8"/>
                                        </p:tgtEl>
                                        <p:attrNameLst>
                                          <p:attrName>style.visibility</p:attrName>
                                        </p:attrNameLst>
                                      </p:cBhvr>
                                      <p:to>
                                        <p:strVal val="visible"/>
                                      </p:to>
                                    </p:set>
                                    <p:animEffect transition="in" filter="fade">
                                      <p:cBhvr>
                                        <p:cTn id="17" dur="500"/>
                                        <p:tgtEl>
                                          <p:spTgt spid="4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9"/>
                                        </p:tgtEl>
                                        <p:attrNameLst>
                                          <p:attrName>style.visibility</p:attrName>
                                        </p:attrNameLst>
                                      </p:cBhvr>
                                      <p:to>
                                        <p:strVal val="visible"/>
                                      </p:to>
                                    </p:set>
                                    <p:animEffect transition="in" filter="fade">
                                      <p:cBhvr>
                                        <p:cTn id="22" dur="500"/>
                                        <p:tgtEl>
                                          <p:spTgt spid="4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6"/>
                                        </p:tgtEl>
                                        <p:attrNameLst>
                                          <p:attrName>style.visibility</p:attrName>
                                        </p:attrNameLst>
                                      </p:cBhvr>
                                      <p:to>
                                        <p:strVal val="visible"/>
                                      </p:to>
                                    </p:set>
                                    <p:animEffect transition="in" filter="fade">
                                      <p:cBhvr>
                                        <p:cTn id="27" dur="500"/>
                                        <p:tgtEl>
                                          <p:spTgt spid="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6" name="Rectangle 5"/>
          <p:cNvSpPr/>
          <p:nvPr/>
        </p:nvSpPr>
        <p:spPr bwMode="auto">
          <a:xfrm>
            <a:off x="4695724"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Image Mobility</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26" name="Right Arrow 25"/>
          <p:cNvSpPr/>
          <p:nvPr/>
        </p:nvSpPr>
        <p:spPr bwMode="auto">
          <a:xfrm>
            <a:off x="6008264" y="2899600"/>
            <a:ext cx="92593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7" name="Freeform 24"/>
          <p:cNvSpPr>
            <a:spLocks noEditPoints="1"/>
          </p:cNvSpPr>
          <p:nvPr/>
        </p:nvSpPr>
        <p:spPr bwMode="black">
          <a:xfrm>
            <a:off x="7066061" y="2800350"/>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7" name="U-Turn Arrow 6"/>
          <p:cNvSpPr/>
          <p:nvPr/>
        </p:nvSpPr>
        <p:spPr bwMode="auto">
          <a:xfrm>
            <a:off x="3581400" y="2039173"/>
            <a:ext cx="1981200" cy="521316"/>
          </a:xfrm>
          <a:prstGeom prst="uturnArrow">
            <a:avLst>
              <a:gd name="adj1" fmla="val 25000"/>
              <a:gd name="adj2" fmla="val 25000"/>
              <a:gd name="adj3" fmla="val 25000"/>
              <a:gd name="adj4" fmla="val 43750"/>
              <a:gd name="adj5" fmla="val 97879"/>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9" name="U-Turn Arrow 28"/>
          <p:cNvSpPr/>
          <p:nvPr/>
        </p:nvSpPr>
        <p:spPr bwMode="auto">
          <a:xfrm rot="10800000">
            <a:off x="3581400" y="3498233"/>
            <a:ext cx="1981200" cy="521316"/>
          </a:xfrm>
          <a:prstGeom prst="uturn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5" name="Can 24"/>
          <p:cNvSpPr/>
          <p:nvPr>
            <p:custDataLst>
              <p:tags r:id="rId1"/>
            </p:custDataLst>
          </p:nvPr>
        </p:nvSpPr>
        <p:spPr>
          <a:xfrm>
            <a:off x="5054384" y="2583942"/>
            <a:ext cx="819758" cy="1005840"/>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nvGrpSpPr>
          <p:cNvPr id="30" name="Group 29"/>
          <p:cNvGrpSpPr/>
          <p:nvPr/>
        </p:nvGrpSpPr>
        <p:grpSpPr>
          <a:xfrm>
            <a:off x="3276600" y="2583942"/>
            <a:ext cx="838201" cy="1005840"/>
            <a:chOff x="3200399" y="1566589"/>
            <a:chExt cx="838201" cy="1113144"/>
          </a:xfrm>
        </p:grpSpPr>
        <p:sp>
          <p:nvSpPr>
            <p:cNvPr id="31" name="Folded Corner 30"/>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2" name="TextBox 31"/>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33" name="Left-Right Arrow 32"/>
          <p:cNvSpPr/>
          <p:nvPr/>
        </p:nvSpPr>
        <p:spPr bwMode="auto">
          <a:xfrm>
            <a:off x="2209800" y="2890507"/>
            <a:ext cx="925936" cy="429290"/>
          </a:xfrm>
          <a:prstGeom prst="lef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34" name="Freeform 24"/>
          <p:cNvSpPr>
            <a:spLocks noEditPoints="1"/>
          </p:cNvSpPr>
          <p:nvPr/>
        </p:nvSpPr>
        <p:spPr bwMode="black">
          <a:xfrm>
            <a:off x="1219204" y="2809444"/>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Tree>
    <p:extLst>
      <p:ext uri="{BB962C8B-B14F-4D97-AF65-F5344CB8AC3E}">
        <p14:creationId xmlns:p14="http://schemas.microsoft.com/office/powerpoint/2010/main" val="144104390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9"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bwMode="auto">
          <a:xfrm>
            <a:off x="2657963" y="750019"/>
            <a:ext cx="5773119"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433952" y="61993"/>
            <a:ext cx="8363938" cy="567848"/>
          </a:xfrm>
        </p:spPr>
        <p:txBody>
          <a:bodyPr/>
          <a:lstStyle/>
          <a:p>
            <a:r>
              <a:rPr lang="en-US" dirty="0" smtClean="0"/>
              <a:t>Disks and Images</a:t>
            </a:r>
            <a:endParaRPr lang="en-US" dirty="0"/>
          </a:p>
        </p:txBody>
      </p:sp>
      <p:grpSp>
        <p:nvGrpSpPr>
          <p:cNvPr id="6" name="Group 5"/>
          <p:cNvGrpSpPr/>
          <p:nvPr/>
        </p:nvGrpSpPr>
        <p:grpSpPr>
          <a:xfrm>
            <a:off x="829782" y="750019"/>
            <a:ext cx="1758428" cy="1807205"/>
            <a:chOff x="829782" y="750015"/>
            <a:chExt cx="1758428" cy="1807205"/>
          </a:xfrm>
        </p:grpSpPr>
        <p:sp>
          <p:nvSpPr>
            <p:cNvPr id="27" name="Rectangle 26"/>
            <p:cNvSpPr/>
            <p:nvPr/>
          </p:nvSpPr>
          <p:spPr bwMode="auto">
            <a:xfrm>
              <a:off x="829782" y="750015"/>
              <a:ext cx="1758428" cy="1807205"/>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OS Images</a:t>
              </a:r>
            </a:p>
            <a:p>
              <a:pPr marL="285702" indent="-285702">
                <a:lnSpc>
                  <a:spcPct val="90000"/>
                </a:lnSpc>
                <a:buSzPct val="90000"/>
                <a:buFont typeface="Arial" pitchFamily="34" charset="0"/>
                <a:buChar char="•"/>
                <a:defRPr/>
              </a:pPr>
              <a:endParaRPr lang="en-US" sz="10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icrosoft</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Partner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User</a:t>
              </a:r>
            </a:p>
          </p:txBody>
        </p:sp>
        <p:sp>
          <p:nvSpPr>
            <p:cNvPr id="28" name="Freeform 79"/>
            <p:cNvSpPr>
              <a:spLocks noEditPoints="1"/>
            </p:cNvSpPr>
            <p:nvPr/>
          </p:nvSpPr>
          <p:spPr bwMode="black">
            <a:xfrm>
              <a:off x="95507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0" name="Freeform 79"/>
            <p:cNvSpPr>
              <a:spLocks noEditPoints="1"/>
            </p:cNvSpPr>
            <p:nvPr/>
          </p:nvSpPr>
          <p:spPr bwMode="black">
            <a:xfrm>
              <a:off x="13872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2" name="Freeform 79"/>
            <p:cNvSpPr>
              <a:spLocks noEditPoints="1"/>
            </p:cNvSpPr>
            <p:nvPr/>
          </p:nvSpPr>
          <p:spPr bwMode="black">
            <a:xfrm>
              <a:off x="1801433" y="2094653"/>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38" name="Freeform 79"/>
            <p:cNvSpPr>
              <a:spLocks noEditPoints="1"/>
            </p:cNvSpPr>
            <p:nvPr/>
          </p:nvSpPr>
          <p:spPr bwMode="black">
            <a:xfrm>
              <a:off x="2209019"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grpSp>
        <p:nvGrpSpPr>
          <p:cNvPr id="7" name="Group 6"/>
          <p:cNvGrpSpPr/>
          <p:nvPr/>
        </p:nvGrpSpPr>
        <p:grpSpPr>
          <a:xfrm>
            <a:off x="829782" y="2852964"/>
            <a:ext cx="1764827" cy="1796531"/>
            <a:chOff x="3055099" y="760689"/>
            <a:chExt cx="1764827" cy="1796531"/>
          </a:xfrm>
        </p:grpSpPr>
        <p:sp>
          <p:nvSpPr>
            <p:cNvPr id="39" name="Rectangle 38"/>
            <p:cNvSpPr/>
            <p:nvPr/>
          </p:nvSpPr>
          <p:spPr bwMode="auto">
            <a:xfrm>
              <a:off x="3055099" y="760689"/>
              <a:ext cx="1764827" cy="1796531"/>
            </a:xfrm>
            <a:prstGeom prst="rect">
              <a:avLst/>
            </a:prstGeom>
            <a:solidFill>
              <a:schemeClr val="accent2"/>
            </a:solidFill>
            <a:ln w="9525" cap="flat" cmpd="sng" algn="ctr">
              <a:noFill/>
              <a:prstDash val="solid"/>
              <a:headEnd type="none" w="med" len="med"/>
              <a:tailEnd type="none" w="med" len="med"/>
            </a:ln>
            <a:effectLst/>
          </p:spPr>
          <p:txBody>
            <a:bodyPr vert="horz" wrap="square" lIns="91432" tIns="91432" rIns="91432" bIns="91432" numCol="1" rtlCol="0" anchor="t" anchorCtr="0" compatLnSpc="1">
              <a:prstTxWarp prst="textNoShape">
                <a:avLst/>
              </a:prstTxWarp>
            </a:bodyPr>
            <a:lstStyle/>
            <a:p>
              <a:pPr lvl="0">
                <a:lnSpc>
                  <a:spcPct val="90000"/>
                </a:lnSpc>
                <a:buSzPct val="90000"/>
                <a:defRPr/>
              </a:pPr>
              <a:r>
                <a:rPr lang="en-US" b="1" u="sng" kern="0" dirty="0" smtClean="0">
                  <a:gradFill>
                    <a:gsLst>
                      <a:gs pos="85000">
                        <a:srgbClr val="FFFFFF"/>
                      </a:gs>
                      <a:gs pos="0">
                        <a:srgbClr val="FFFFFF"/>
                      </a:gs>
                    </a:gsLst>
                    <a:lin ang="5400000" scaled="0"/>
                  </a:gradFill>
                  <a:latin typeface="Segoe UI Light" pitchFamily="34" charset="0"/>
                  <a:ea typeface="Segoe UI" pitchFamily="34" charset="0"/>
                  <a:cs typeface="Segoe UI" pitchFamily="34" charset="0"/>
                </a:rPr>
                <a:t>Disks</a:t>
              </a:r>
            </a:p>
            <a:p>
              <a:pPr lvl="0">
                <a:lnSpc>
                  <a:spcPct val="90000"/>
                </a:lnSpc>
                <a:buSzPct val="90000"/>
                <a:defRPr/>
              </a:pPr>
              <a:endParaRPr lang="en-US" sz="1100" b="1" u="sng"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OS Disks </a:t>
              </a:r>
            </a:p>
            <a:p>
              <a:pPr marL="285702" indent="-285702">
                <a:lnSpc>
                  <a:spcPct val="90000"/>
                </a:lnSpc>
                <a:buSzPct val="90000"/>
                <a:buFont typeface="Arial" pitchFamily="34" charset="0"/>
                <a:buChar char="•"/>
                <a:defRPr/>
              </a:pPr>
              <a:r>
                <a:rPr lang="en-US" sz="1600" b="1"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ata Disks</a:t>
              </a:r>
            </a:p>
          </p:txBody>
        </p:sp>
        <p:sp>
          <p:nvSpPr>
            <p:cNvPr id="21" name="Freeform 79"/>
            <p:cNvSpPr>
              <a:spLocks noEditPoints="1"/>
            </p:cNvSpPr>
            <p:nvPr/>
          </p:nvSpPr>
          <p:spPr bwMode="black">
            <a:xfrm>
              <a:off x="314550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2" name="Freeform 79"/>
            <p:cNvSpPr>
              <a:spLocks noEditPoints="1"/>
            </p:cNvSpPr>
            <p:nvPr/>
          </p:nvSpPr>
          <p:spPr bwMode="black">
            <a:xfrm>
              <a:off x="35776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3" name="Freeform 79"/>
            <p:cNvSpPr>
              <a:spLocks noEditPoints="1"/>
            </p:cNvSpPr>
            <p:nvPr/>
          </p:nvSpPr>
          <p:spPr bwMode="black">
            <a:xfrm>
              <a:off x="3991860" y="2086919"/>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sp>
          <p:nvSpPr>
            <p:cNvPr id="24" name="Freeform 79"/>
            <p:cNvSpPr>
              <a:spLocks noEditPoints="1"/>
            </p:cNvSpPr>
            <p:nvPr/>
          </p:nvSpPr>
          <p:spPr bwMode="black">
            <a:xfrm>
              <a:off x="4399446" y="2079185"/>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99" tIns="41149" rIns="82299" bIns="41149" numCol="1" anchor="t" anchorCtr="0" compatLnSpc="1">
              <a:prstTxWarp prst="textNoShape">
                <a:avLst/>
              </a:prstTxWarp>
            </a:bodyPr>
            <a:lstStyle/>
            <a:p>
              <a:endParaRPr lang="en-US" sz="1600" dirty="0"/>
            </a:p>
          </p:txBody>
        </p:sp>
      </p:grpSp>
      <p:sp>
        <p:nvSpPr>
          <p:cNvPr id="8" name="TextBox 7"/>
          <p:cNvSpPr txBox="1"/>
          <p:nvPr/>
        </p:nvSpPr>
        <p:spPr>
          <a:xfrm>
            <a:off x="2765156" y="1081154"/>
            <a:ext cx="5571641" cy="1144929"/>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Base OS image for new Virtual Machines</a:t>
            </a:r>
          </a:p>
          <a:p>
            <a:pPr>
              <a:lnSpc>
                <a:spcPct val="90000"/>
              </a:lnSpc>
              <a:spcBef>
                <a:spcPct val="20000"/>
              </a:spcBef>
              <a:buSzPct val="80000"/>
            </a:pPr>
            <a:r>
              <a:rPr lang="en-US" sz="2400" dirty="0">
                <a:solidFill>
                  <a:schemeClr val="tx2"/>
                </a:solidFill>
              </a:rPr>
              <a:t>Sys-Prepped/Generalized/Read Only </a:t>
            </a:r>
          </a:p>
          <a:p>
            <a:pPr>
              <a:lnSpc>
                <a:spcPct val="90000"/>
              </a:lnSpc>
              <a:spcBef>
                <a:spcPct val="20000"/>
              </a:spcBef>
              <a:buSzPct val="80000"/>
            </a:pPr>
            <a:r>
              <a:rPr lang="en-US" sz="2400" dirty="0">
                <a:solidFill>
                  <a:schemeClr val="tx2"/>
                </a:solidFill>
              </a:rPr>
              <a:t>Created by uploading or by capture</a:t>
            </a:r>
          </a:p>
        </p:txBody>
      </p:sp>
      <p:sp>
        <p:nvSpPr>
          <p:cNvPr id="37" name="Rectangle 36"/>
          <p:cNvSpPr/>
          <p:nvPr/>
        </p:nvSpPr>
        <p:spPr bwMode="auto">
          <a:xfrm>
            <a:off x="2670879" y="2852964"/>
            <a:ext cx="5760203" cy="180720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6" name="TextBox 35"/>
          <p:cNvSpPr txBox="1"/>
          <p:nvPr/>
        </p:nvSpPr>
        <p:spPr>
          <a:xfrm>
            <a:off x="2859437" y="3178762"/>
            <a:ext cx="5091193" cy="1477328"/>
          </a:xfrm>
          <a:prstGeom prst="rect">
            <a:avLst/>
          </a:prstGeom>
          <a:noFill/>
        </p:spPr>
        <p:txBody>
          <a:bodyPr wrap="square" lIns="0" tIns="0" rIns="0" bIns="0" rtlCol="0">
            <a:spAutoFit/>
          </a:bodyPr>
          <a:lstStyle/>
          <a:p>
            <a:pPr>
              <a:lnSpc>
                <a:spcPct val="90000"/>
              </a:lnSpc>
              <a:spcBef>
                <a:spcPct val="20000"/>
              </a:spcBef>
              <a:buSzPct val="80000"/>
            </a:pPr>
            <a:r>
              <a:rPr lang="en-US" sz="2400" dirty="0">
                <a:solidFill>
                  <a:schemeClr val="tx2"/>
                </a:solidFill>
              </a:rPr>
              <a:t>Writable Disks for Virtual Machines</a:t>
            </a:r>
          </a:p>
          <a:p>
            <a:pPr>
              <a:lnSpc>
                <a:spcPct val="90000"/>
              </a:lnSpc>
              <a:spcBef>
                <a:spcPct val="20000"/>
              </a:spcBef>
              <a:buSzPct val="80000"/>
            </a:pPr>
            <a:r>
              <a:rPr lang="en-US" sz="2400" dirty="0">
                <a:solidFill>
                  <a:schemeClr val="tx2"/>
                </a:solidFill>
              </a:rPr>
              <a:t>Created during VM creation or during upload of existing VHDs. </a:t>
            </a:r>
          </a:p>
          <a:p>
            <a:pPr>
              <a:lnSpc>
                <a:spcPct val="90000"/>
              </a:lnSpc>
              <a:spcBef>
                <a:spcPct val="20000"/>
              </a:spcBef>
              <a:buSzPct val="80000"/>
            </a:pPr>
            <a:r>
              <a:rPr lang="en-US" sz="2400" dirty="0">
                <a:solidFill>
                  <a:schemeClr val="tx2"/>
                </a:solidFill>
              </a:rPr>
              <a:t> </a:t>
            </a:r>
          </a:p>
        </p:txBody>
      </p:sp>
    </p:spTree>
    <p:extLst>
      <p:ext uri="{BB962C8B-B14F-4D97-AF65-F5344CB8AC3E}">
        <p14:creationId xmlns:p14="http://schemas.microsoft.com/office/powerpoint/2010/main" val="195599882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ersistent Disk Management</a:t>
            </a:r>
            <a:endParaRPr lang="en-US" dirty="0"/>
          </a:p>
        </p:txBody>
      </p:sp>
      <p:sp>
        <p:nvSpPr>
          <p:cNvPr id="4" name="Text Placeholder 3"/>
          <p:cNvSpPr>
            <a:spLocks noGrp="1"/>
          </p:cNvSpPr>
          <p:nvPr>
            <p:ph type="body" sz="quarter" idx="10"/>
          </p:nvPr>
        </p:nvSpPr>
        <p:spPr>
          <a:xfrm>
            <a:off x="381000" y="3486150"/>
            <a:ext cx="8363938" cy="1010533"/>
          </a:xfrm>
        </p:spPr>
        <p:txBody>
          <a:bodyPr/>
          <a:lstStyle/>
          <a:p>
            <a:pPr marL="345282" indent="-342900">
              <a:buFont typeface="Arial" pitchFamily="34" charset="0"/>
              <a:buChar char="•"/>
            </a:pPr>
            <a:r>
              <a:rPr lang="en-US" sz="2000" dirty="0" smtClean="0"/>
              <a:t>C:\ = OS Disk</a:t>
            </a:r>
          </a:p>
          <a:p>
            <a:pPr marL="345282" indent="-342900">
              <a:buFont typeface="Arial" pitchFamily="34" charset="0"/>
              <a:buChar char="•"/>
            </a:pPr>
            <a:r>
              <a:rPr lang="en-US" sz="2000" dirty="0" smtClean="0">
                <a:solidFill>
                  <a:srgbClr val="FF0000"/>
                </a:solidFill>
              </a:rPr>
              <a:t>D:\ = Non-Persistent Cache Disk</a:t>
            </a:r>
          </a:p>
          <a:p>
            <a:pPr marL="345282" indent="-342900">
              <a:buFont typeface="Arial" pitchFamily="34" charset="0"/>
              <a:buChar char="•"/>
            </a:pPr>
            <a:r>
              <a:rPr lang="en-US" sz="2000" dirty="0" smtClean="0"/>
              <a:t>E:\, F:\. G:\ ... Data Disks</a:t>
            </a:r>
          </a:p>
        </p:txBody>
      </p:sp>
      <p:graphicFrame>
        <p:nvGraphicFramePr>
          <p:cNvPr id="5" name="Table 4"/>
          <p:cNvGraphicFramePr>
            <a:graphicFrameLocks noGrp="1"/>
          </p:cNvGraphicFramePr>
          <p:nvPr>
            <p:extLst>
              <p:ext uri="{D42A27DB-BD31-4B8C-83A1-F6EECF244321}">
                <p14:modId xmlns:p14="http://schemas.microsoft.com/office/powerpoint/2010/main" val="2302864190"/>
              </p:ext>
            </p:extLst>
          </p:nvPr>
        </p:nvGraphicFramePr>
        <p:xfrm>
          <a:off x="381000" y="1123950"/>
          <a:ext cx="6096000" cy="2214880"/>
        </p:xfrm>
        <a:graphic>
          <a:graphicData uri="http://schemas.openxmlformats.org/drawingml/2006/table">
            <a:tbl>
              <a:tblPr firstRow="1" bandRow="1">
                <a:tableStyleId>{18603FDC-E32A-4AB5-989C-0864C3EAD2B8}</a:tableStyleId>
              </a:tblPr>
              <a:tblGrid>
                <a:gridCol w="1828800"/>
                <a:gridCol w="1981200"/>
                <a:gridCol w="2286000"/>
              </a:tblGrid>
              <a:tr h="370840">
                <a:tc>
                  <a:txBody>
                    <a:bodyPr/>
                    <a:lstStyle/>
                    <a:p>
                      <a:r>
                        <a:rPr lang="en-US" sz="1600" dirty="0" smtClean="0"/>
                        <a:t>Capability</a:t>
                      </a:r>
                      <a:endParaRPr lang="en-US" sz="1600" dirty="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600" dirty="0" smtClean="0"/>
                        <a:t>OS</a:t>
                      </a:r>
                      <a:r>
                        <a:rPr lang="en-US" sz="1600" baseline="0" dirty="0" smtClean="0"/>
                        <a:t> Disk</a:t>
                      </a:r>
                      <a:endParaRPr lang="en-US" sz="1600" dirty="0" smtClean="0"/>
                    </a:p>
                  </a:txBody>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400" dirty="0" smtClean="0"/>
                        <a:t>Data Disk </a:t>
                      </a:r>
                      <a:endParaRPr lang="en-US" dirty="0"/>
                    </a:p>
                  </a:txBody>
                  <a:tcPr/>
                </a:tc>
              </a:tr>
              <a:tr h="370840">
                <a:tc>
                  <a:txBody>
                    <a:bodyPr/>
                    <a:lstStyle/>
                    <a:p>
                      <a:r>
                        <a:rPr lang="en-US" dirty="0" smtClean="0"/>
                        <a:t>Host Cache</a:t>
                      </a:r>
                      <a:r>
                        <a:rPr lang="en-US" baseline="0" dirty="0" smtClean="0"/>
                        <a:t> Default</a:t>
                      </a:r>
                      <a:endParaRPr lang="en-US" dirty="0"/>
                    </a:p>
                  </a:txBody>
                  <a:tcPr/>
                </a:tc>
                <a:tc>
                  <a:txBody>
                    <a:bodyPr/>
                    <a:lstStyle/>
                    <a:p>
                      <a:r>
                        <a:rPr lang="en-US" b="1" dirty="0" err="1" smtClean="0"/>
                        <a:t>ReadWrite</a:t>
                      </a:r>
                      <a:endParaRPr lang="en-US" b="1" dirty="0"/>
                    </a:p>
                  </a:txBody>
                  <a:tcPr/>
                </a:tc>
                <a:tc>
                  <a:txBody>
                    <a:bodyPr/>
                    <a:lstStyle/>
                    <a:p>
                      <a:r>
                        <a:rPr lang="en-US" b="1" dirty="0" smtClean="0"/>
                        <a:t>None</a:t>
                      </a:r>
                      <a:endParaRPr lang="en-US" b="1" dirty="0"/>
                    </a:p>
                  </a:txBody>
                  <a:tcPr/>
                </a:tc>
              </a:tr>
              <a:tr h="370840">
                <a:tc>
                  <a:txBody>
                    <a:bodyPr/>
                    <a:lstStyle/>
                    <a:p>
                      <a:r>
                        <a:rPr lang="en-US" dirty="0" smtClean="0"/>
                        <a:t>Max Capacity</a:t>
                      </a:r>
                      <a:endParaRPr lang="en-US" dirty="0"/>
                    </a:p>
                  </a:txBody>
                  <a:tcPr/>
                </a:tc>
                <a:tc>
                  <a:txBody>
                    <a:bodyPr/>
                    <a:lstStyle/>
                    <a:p>
                      <a:r>
                        <a:rPr lang="en-US" b="1" dirty="0" smtClean="0"/>
                        <a:t>127</a:t>
                      </a:r>
                      <a:r>
                        <a:rPr lang="en-US" b="1" baseline="0" dirty="0" smtClean="0"/>
                        <a:t> GB</a:t>
                      </a:r>
                      <a:endParaRPr lang="en-US" b="1" dirty="0"/>
                    </a:p>
                  </a:txBody>
                  <a:tcPr/>
                </a:tc>
                <a:tc>
                  <a:txBody>
                    <a:bodyPr/>
                    <a:lstStyle/>
                    <a:p>
                      <a:r>
                        <a:rPr lang="en-US" b="1" dirty="0" smtClean="0"/>
                        <a:t>1 TB</a:t>
                      </a:r>
                      <a:endParaRPr lang="en-US" b="1" dirty="0"/>
                    </a:p>
                  </a:txBody>
                  <a:tcPr/>
                </a:tc>
              </a:tr>
              <a:tr h="370840">
                <a:tc>
                  <a:txBody>
                    <a:bodyPr/>
                    <a:lstStyle/>
                    <a:p>
                      <a:r>
                        <a:rPr lang="en-US" dirty="0" smtClean="0"/>
                        <a:t>Imaging</a:t>
                      </a:r>
                      <a:r>
                        <a:rPr lang="en-US" baseline="0" dirty="0" smtClean="0"/>
                        <a:t> Capable</a:t>
                      </a:r>
                      <a:endParaRPr lang="en-US" dirty="0"/>
                    </a:p>
                  </a:txBody>
                  <a:tcPr/>
                </a:tc>
                <a:tc>
                  <a:txBody>
                    <a:bodyPr/>
                    <a:lstStyle/>
                    <a:p>
                      <a:r>
                        <a:rPr lang="en-US" b="1" dirty="0" smtClean="0"/>
                        <a:t>Yes</a:t>
                      </a:r>
                      <a:endParaRPr lang="en-US" b="1" dirty="0"/>
                    </a:p>
                  </a:txBody>
                  <a:tcPr/>
                </a:tc>
                <a:tc>
                  <a:txBody>
                    <a:bodyPr/>
                    <a:lstStyle/>
                    <a:p>
                      <a:r>
                        <a:rPr lang="en-US" b="1" dirty="0" smtClean="0"/>
                        <a:t>No</a:t>
                      </a:r>
                      <a:endParaRPr lang="en-US" b="1" dirty="0"/>
                    </a:p>
                  </a:txBody>
                  <a:tcPr/>
                </a:tc>
              </a:tr>
              <a:tr h="370840">
                <a:tc>
                  <a:txBody>
                    <a:bodyPr/>
                    <a:lstStyle/>
                    <a:p>
                      <a:r>
                        <a:rPr lang="en-US" dirty="0" smtClean="0"/>
                        <a:t>Hot Update</a:t>
                      </a:r>
                      <a:endParaRPr lang="en-US" dirty="0"/>
                    </a:p>
                  </a:txBody>
                  <a:tcPr/>
                </a:tc>
                <a:tc>
                  <a:txBody>
                    <a:bodyPr/>
                    <a:lstStyle/>
                    <a:p>
                      <a:r>
                        <a:rPr lang="en-US" dirty="0" smtClean="0"/>
                        <a:t>Cache</a:t>
                      </a:r>
                      <a:r>
                        <a:rPr lang="en-US" baseline="0" dirty="0" smtClean="0"/>
                        <a:t> Setting Requires Reboot</a:t>
                      </a:r>
                      <a:endParaRPr lang="en-US" dirty="0"/>
                    </a:p>
                  </a:txBody>
                  <a:tcPr/>
                </a:tc>
                <a:tc>
                  <a:txBody>
                    <a:bodyPr/>
                    <a:lstStyle/>
                    <a:p>
                      <a:r>
                        <a:rPr lang="en-US" dirty="0" smtClean="0"/>
                        <a:t>Change</a:t>
                      </a:r>
                      <a:r>
                        <a:rPr lang="en-US" baseline="0" dirty="0" smtClean="0"/>
                        <a:t> Cache Without Reboot, Add/Remove without Reboot.</a:t>
                      </a:r>
                      <a:endParaRPr lang="en-US" dirty="0"/>
                    </a:p>
                  </a:txBody>
                  <a:tcPr/>
                </a:tc>
              </a:tr>
            </a:tbl>
          </a:graphicData>
        </a:graphic>
      </p:graphicFrame>
    </p:spTree>
    <p:extLst>
      <p:ext uri="{BB962C8B-B14F-4D97-AF65-F5344CB8AC3E}">
        <p14:creationId xmlns:p14="http://schemas.microsoft.com/office/powerpoint/2010/main" val="282099068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ersistent Disks and Highly Durable</a:t>
            </a:r>
            <a:endParaRPr lang="en-US" dirty="0"/>
          </a:p>
        </p:txBody>
      </p:sp>
      <p:sp>
        <p:nvSpPr>
          <p:cNvPr id="5" name="Rectangle 4"/>
          <p:cNvSpPr/>
          <p:nvPr/>
        </p:nvSpPr>
        <p:spPr bwMode="auto">
          <a:xfrm>
            <a:off x="5271716" y="2274080"/>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10" name="Freeform 79"/>
          <p:cNvSpPr>
            <a:spLocks noEditPoints="1"/>
          </p:cNvSpPr>
          <p:nvPr/>
        </p:nvSpPr>
        <p:spPr bwMode="black">
          <a:xfrm>
            <a:off x="6762228"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2" name="Freeform 79"/>
          <p:cNvSpPr>
            <a:spLocks noEditPoints="1"/>
          </p:cNvSpPr>
          <p:nvPr/>
        </p:nvSpPr>
        <p:spPr bwMode="black">
          <a:xfrm>
            <a:off x="7546757"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3" name="Freeform 79"/>
          <p:cNvSpPr>
            <a:spLocks noEditPoints="1"/>
          </p:cNvSpPr>
          <p:nvPr/>
        </p:nvSpPr>
        <p:spPr bwMode="black">
          <a:xfrm>
            <a:off x="7546757"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6" name="Freeform 79"/>
          <p:cNvSpPr>
            <a:spLocks noEditPoints="1"/>
          </p:cNvSpPr>
          <p:nvPr/>
        </p:nvSpPr>
        <p:spPr bwMode="black">
          <a:xfrm>
            <a:off x="121604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7" name="Freeform 79"/>
          <p:cNvSpPr>
            <a:spLocks noEditPoints="1"/>
          </p:cNvSpPr>
          <p:nvPr/>
        </p:nvSpPr>
        <p:spPr bwMode="black">
          <a:xfrm>
            <a:off x="121604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9" name="Freeform 79"/>
          <p:cNvSpPr>
            <a:spLocks noEditPoints="1"/>
          </p:cNvSpPr>
          <p:nvPr/>
        </p:nvSpPr>
        <p:spPr bwMode="black">
          <a:xfrm>
            <a:off x="164818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26" name="Straight Connector 25"/>
          <p:cNvCxnSpPr/>
          <p:nvPr/>
        </p:nvCxnSpPr>
        <p:spPr>
          <a:xfrm>
            <a:off x="6232829" y="3285537"/>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6232828" y="3285532"/>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2358459" y="1711235"/>
            <a:ext cx="3619240" cy="149718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1929245" y="1171302"/>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2220853" y="1361279"/>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grpSp>
        <p:nvGrpSpPr>
          <p:cNvPr id="45" name="Group 44"/>
          <p:cNvGrpSpPr/>
          <p:nvPr/>
        </p:nvGrpSpPr>
        <p:grpSpPr>
          <a:xfrm>
            <a:off x="380999" y="2737185"/>
            <a:ext cx="2813701" cy="1958318"/>
            <a:chOff x="380999" y="2873361"/>
            <a:chExt cx="2632192" cy="1831989"/>
          </a:xfrm>
        </p:grpSpPr>
        <p:sp>
          <p:nvSpPr>
            <p:cNvPr id="46" name="Rectangle 45"/>
            <p:cNvSpPr/>
            <p:nvPr/>
          </p:nvSpPr>
          <p:spPr bwMode="auto">
            <a:xfrm>
              <a:off x="380999" y="2873361"/>
              <a:ext cx="2632192"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47" name="Freeform 128"/>
            <p:cNvSpPr>
              <a:spLocks noChangeAspect="1"/>
            </p:cNvSpPr>
            <p:nvPr/>
          </p:nvSpPr>
          <p:spPr bwMode="black">
            <a:xfrm>
              <a:off x="957648" y="3237645"/>
              <a:ext cx="1383150" cy="764073"/>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4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1525134" y="3450274"/>
              <a:ext cx="248183" cy="4100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9" name="Straight Connector 48"/>
          <p:cNvCxnSpPr>
            <a:stCxn id="46" idx="3"/>
          </p:cNvCxnSpPr>
          <p:nvPr/>
        </p:nvCxnSpPr>
        <p:spPr>
          <a:xfrm flipV="1">
            <a:off x="3194700" y="3198569"/>
            <a:ext cx="2783001" cy="517775"/>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Freeform 79"/>
          <p:cNvSpPr>
            <a:spLocks noEditPoints="1"/>
          </p:cNvSpPr>
          <p:nvPr/>
        </p:nvSpPr>
        <p:spPr bwMode="black">
          <a:xfrm>
            <a:off x="2080321"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8" name="Freeform 79"/>
          <p:cNvSpPr>
            <a:spLocks noEditPoints="1"/>
          </p:cNvSpPr>
          <p:nvPr/>
        </p:nvSpPr>
        <p:spPr bwMode="black">
          <a:xfrm>
            <a:off x="164818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20" name="Freeform 79"/>
          <p:cNvSpPr>
            <a:spLocks noEditPoints="1"/>
          </p:cNvSpPr>
          <p:nvPr/>
        </p:nvSpPr>
        <p:spPr bwMode="black">
          <a:xfrm>
            <a:off x="2080321"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8" name="Freeform 79"/>
          <p:cNvSpPr>
            <a:spLocks noEditPoints="1"/>
          </p:cNvSpPr>
          <p:nvPr/>
        </p:nvSpPr>
        <p:spPr bwMode="black">
          <a:xfrm>
            <a:off x="5977700"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9" name="Freeform 79"/>
          <p:cNvSpPr>
            <a:spLocks noEditPoints="1"/>
          </p:cNvSpPr>
          <p:nvPr/>
        </p:nvSpPr>
        <p:spPr bwMode="black">
          <a:xfrm>
            <a:off x="5977700"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11" name="Freeform 79"/>
          <p:cNvSpPr>
            <a:spLocks noEditPoints="1"/>
          </p:cNvSpPr>
          <p:nvPr/>
        </p:nvSpPr>
        <p:spPr bwMode="black">
          <a:xfrm>
            <a:off x="6762228"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22140682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wipe(left)">
                                      <p:cBhvr>
                                        <p:cTn id="7" dur="500"/>
                                        <p:tgtEl>
                                          <p:spTgt spid="4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Effect transition="in" filter="fade">
                                      <p:cBhvr>
                                        <p:cTn id="20" dur="500"/>
                                        <p:tgtEl>
                                          <p:spTgt spid="13"/>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
                                        </p:tgtEl>
                                        <p:attrNameLst>
                                          <p:attrName>style.visibility</p:attrName>
                                        </p:attrNameLst>
                                      </p:cBhvr>
                                      <p:to>
                                        <p:strVal val="visible"/>
                                      </p:to>
                                    </p:set>
                                    <p:animEffect transition="in" filter="fade">
                                      <p:cBhvr>
                                        <p:cTn id="23" dur="500"/>
                                        <p:tgtEl>
                                          <p:spTgt spid="5"/>
                                        </p:tgtEl>
                                      </p:cBhvr>
                                    </p:animEffect>
                                  </p:childTnLst>
                                </p:cTn>
                              </p:par>
                            </p:childTnLst>
                          </p:cTn>
                        </p:par>
                        <p:par>
                          <p:cTn id="24" fill="hold">
                            <p:stCondLst>
                              <p:cond delay="1000"/>
                            </p:stCondLst>
                            <p:childTnLst>
                              <p:par>
                                <p:cTn id="25" presetID="19" presetClass="emph" presetSubtype="0" fill="remove" grpId="1" nodeType="afterEffect">
                                  <p:stCondLst>
                                    <p:cond delay="0"/>
                                  </p:stCondLst>
                                  <p:childTnLst>
                                    <p:animClr clrSpc="rgb" dir="cw">
                                      <p:cBhvr override="childStyle">
                                        <p:cTn id="26" dur="2000" fill="hold"/>
                                        <p:tgtEl>
                                          <p:spTgt spid="8"/>
                                        </p:tgtEl>
                                        <p:attrNameLst>
                                          <p:attrName>style.color</p:attrName>
                                        </p:attrNameLst>
                                      </p:cBhvr>
                                      <p:to>
                                        <a:schemeClr val="accent1"/>
                                      </p:to>
                                    </p:animClr>
                                    <p:animClr clrSpc="rgb" dir="cw">
                                      <p:cBhvr>
                                        <p:cTn id="27" dur="2000" fill="hold"/>
                                        <p:tgtEl>
                                          <p:spTgt spid="8"/>
                                        </p:tgtEl>
                                        <p:attrNameLst>
                                          <p:attrName>fillcolor</p:attrName>
                                        </p:attrNameLst>
                                      </p:cBhvr>
                                      <p:to>
                                        <a:schemeClr val="accent1"/>
                                      </p:to>
                                    </p:animClr>
                                    <p:set>
                                      <p:cBhvr>
                                        <p:cTn id="28" dur="2000" fill="hold"/>
                                        <p:tgtEl>
                                          <p:spTgt spid="8"/>
                                        </p:tgtEl>
                                        <p:attrNameLst>
                                          <p:attrName>fill.type</p:attrName>
                                        </p:attrNameLst>
                                      </p:cBhvr>
                                      <p:to>
                                        <p:strVal val="solid"/>
                                      </p:to>
                                    </p:set>
                                    <p:set>
                                      <p:cBhvr>
                                        <p:cTn id="29" dur="2000" fill="hold"/>
                                        <p:tgtEl>
                                          <p:spTgt spid="8"/>
                                        </p:tgtEl>
                                        <p:attrNameLst>
                                          <p:attrName>fill.on</p:attrName>
                                        </p:attrNameLst>
                                      </p:cBhvr>
                                      <p:to>
                                        <p:strVal val="true"/>
                                      </p:to>
                                    </p:set>
                                  </p:childTnLst>
                                </p:cTn>
                              </p:par>
                            </p:childTnLst>
                          </p:cTn>
                        </p:par>
                        <p:par>
                          <p:cTn id="30" fill="hold">
                            <p:stCondLst>
                              <p:cond delay="3000"/>
                            </p:stCondLst>
                            <p:childTnLst>
                              <p:par>
                                <p:cTn id="31" presetID="22" presetClass="entr" presetSubtype="1" fill="hold" nodeType="after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up)">
                                      <p:cBhvr>
                                        <p:cTn id="33" dur="500"/>
                                        <p:tgtEl>
                                          <p:spTgt spid="31"/>
                                        </p:tgtEl>
                                      </p:cBhvr>
                                    </p:animEffect>
                                  </p:childTnLst>
                                </p:cTn>
                              </p:par>
                              <p:par>
                                <p:cTn id="34" presetID="22" presetClass="entr" presetSubtype="1" fill="hold" nodeType="withEffect">
                                  <p:stCondLst>
                                    <p:cond delay="0"/>
                                  </p:stCondLst>
                                  <p:childTnLst>
                                    <p:set>
                                      <p:cBhvr>
                                        <p:cTn id="35" dur="1" fill="hold">
                                          <p:stCondLst>
                                            <p:cond delay="0"/>
                                          </p:stCondLst>
                                        </p:cTn>
                                        <p:tgtEl>
                                          <p:spTgt spid="26"/>
                                        </p:tgtEl>
                                        <p:attrNameLst>
                                          <p:attrName>style.visibility</p:attrName>
                                        </p:attrNameLst>
                                      </p:cBhvr>
                                      <p:to>
                                        <p:strVal val="visible"/>
                                      </p:to>
                                    </p:set>
                                    <p:animEffect transition="in" filter="wipe(up)">
                                      <p:cBhvr>
                                        <p:cTn id="36" dur="500"/>
                                        <p:tgtEl>
                                          <p:spTgt spid="26"/>
                                        </p:tgtEl>
                                      </p:cBhvr>
                                    </p:animEffect>
                                  </p:childTnLst>
                                </p:cTn>
                              </p:par>
                            </p:childTnLst>
                          </p:cTn>
                        </p:par>
                        <p:par>
                          <p:cTn id="37" fill="hold">
                            <p:stCondLst>
                              <p:cond delay="3500"/>
                            </p:stCondLst>
                            <p:childTnLst>
                              <p:par>
                                <p:cTn id="38" presetID="19" presetClass="emph" presetSubtype="0" fill="remove" grpId="0" nodeType="afterEffect">
                                  <p:stCondLst>
                                    <p:cond delay="0"/>
                                  </p:stCondLst>
                                  <p:childTnLst>
                                    <p:animClr clrSpc="rgb" dir="cw">
                                      <p:cBhvr override="childStyle">
                                        <p:cTn id="39" dur="2000" fill="hold"/>
                                        <p:tgtEl>
                                          <p:spTgt spid="9"/>
                                        </p:tgtEl>
                                        <p:attrNameLst>
                                          <p:attrName>style.color</p:attrName>
                                        </p:attrNameLst>
                                      </p:cBhvr>
                                      <p:to>
                                        <a:schemeClr val="accent1"/>
                                      </p:to>
                                    </p:animClr>
                                    <p:animClr clrSpc="rgb" dir="cw">
                                      <p:cBhvr>
                                        <p:cTn id="40" dur="2000" fill="hold"/>
                                        <p:tgtEl>
                                          <p:spTgt spid="9"/>
                                        </p:tgtEl>
                                        <p:attrNameLst>
                                          <p:attrName>fillcolor</p:attrName>
                                        </p:attrNameLst>
                                      </p:cBhvr>
                                      <p:to>
                                        <a:schemeClr val="accent1"/>
                                      </p:to>
                                    </p:animClr>
                                    <p:set>
                                      <p:cBhvr>
                                        <p:cTn id="41" dur="2000" fill="hold"/>
                                        <p:tgtEl>
                                          <p:spTgt spid="9"/>
                                        </p:tgtEl>
                                        <p:attrNameLst>
                                          <p:attrName>fill.type</p:attrName>
                                        </p:attrNameLst>
                                      </p:cBhvr>
                                      <p:to>
                                        <p:strVal val="solid"/>
                                      </p:to>
                                    </p:set>
                                    <p:set>
                                      <p:cBhvr>
                                        <p:cTn id="42" dur="2000" fill="hold"/>
                                        <p:tgtEl>
                                          <p:spTgt spid="9"/>
                                        </p:tgtEl>
                                        <p:attrNameLst>
                                          <p:attrName>fill.on</p:attrName>
                                        </p:attrNameLst>
                                      </p:cBhvr>
                                      <p:to>
                                        <p:strVal val="true"/>
                                      </p:to>
                                    </p:set>
                                  </p:childTnLst>
                                </p:cTn>
                              </p:par>
                              <p:par>
                                <p:cTn id="43" presetID="19" presetClass="emph" presetSubtype="0" fill="remove" grpId="0" nodeType="withEffect">
                                  <p:stCondLst>
                                    <p:cond delay="0"/>
                                  </p:stCondLst>
                                  <p:childTnLst>
                                    <p:animClr clrSpc="rgb" dir="cw">
                                      <p:cBhvr override="childStyle">
                                        <p:cTn id="44" dur="2000" fill="hold"/>
                                        <p:tgtEl>
                                          <p:spTgt spid="11"/>
                                        </p:tgtEl>
                                        <p:attrNameLst>
                                          <p:attrName>style.color</p:attrName>
                                        </p:attrNameLst>
                                      </p:cBhvr>
                                      <p:to>
                                        <a:schemeClr val="accent1"/>
                                      </p:to>
                                    </p:animClr>
                                    <p:animClr clrSpc="rgb" dir="cw">
                                      <p:cBhvr>
                                        <p:cTn id="45" dur="2000" fill="hold"/>
                                        <p:tgtEl>
                                          <p:spTgt spid="11"/>
                                        </p:tgtEl>
                                        <p:attrNameLst>
                                          <p:attrName>fillcolor</p:attrName>
                                        </p:attrNameLst>
                                      </p:cBhvr>
                                      <p:to>
                                        <a:schemeClr val="accent1"/>
                                      </p:to>
                                    </p:animClr>
                                    <p:set>
                                      <p:cBhvr>
                                        <p:cTn id="46" dur="2000" fill="hold"/>
                                        <p:tgtEl>
                                          <p:spTgt spid="11"/>
                                        </p:tgtEl>
                                        <p:attrNameLst>
                                          <p:attrName>fill.type</p:attrName>
                                        </p:attrNameLst>
                                      </p:cBhvr>
                                      <p:to>
                                        <p:strVal val="solid"/>
                                      </p:to>
                                    </p:set>
                                    <p:set>
                                      <p:cBhvr>
                                        <p:cTn id="47" dur="2000" fill="hold"/>
                                        <p:tgtEl>
                                          <p:spTgt spid="11"/>
                                        </p:tgtEl>
                                        <p:attrNameLst>
                                          <p:attrName>fill.on</p:attrName>
                                        </p:attrNameLst>
                                      </p:cBhvr>
                                      <p:to>
                                        <p:strVal val="true"/>
                                      </p:to>
                                    </p:set>
                                  </p:childTnLst>
                                </p:cTn>
                              </p:par>
                            </p:childTnLst>
                          </p:cTn>
                        </p:par>
                      </p:childTnLst>
                    </p:cTn>
                  </p:par>
                  <p:par>
                    <p:cTn id="48" fill="hold">
                      <p:stCondLst>
                        <p:cond delay="indefinite"/>
                      </p:stCondLst>
                      <p:childTnLst>
                        <p:par>
                          <p:cTn id="49" fill="hold">
                            <p:stCondLst>
                              <p:cond delay="0"/>
                            </p:stCondLst>
                            <p:childTnLst>
                              <p:par>
                                <p:cTn id="50" presetID="22" presetClass="entr" presetSubtype="2" fill="hold"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wipe(right)">
                                      <p:cBhvr>
                                        <p:cTn id="52" dur="1000"/>
                                        <p:tgtEl>
                                          <p:spTgt spid="34"/>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9"/>
                                        </p:tgtEl>
                                        <p:attrNameLst>
                                          <p:attrName>style.visibility</p:attrName>
                                        </p:attrNameLst>
                                      </p:cBhvr>
                                      <p:to>
                                        <p:strVal val="visible"/>
                                      </p:to>
                                    </p:set>
                                    <p:animEffect transition="in" filter="fade">
                                      <p:cBhvr>
                                        <p:cTn id="55" dur="500"/>
                                        <p:tgtEl>
                                          <p:spTgt spid="19"/>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16"/>
                                        </p:tgtEl>
                                        <p:attrNameLst>
                                          <p:attrName>style.visibility</p:attrName>
                                        </p:attrNameLst>
                                      </p:cBhvr>
                                      <p:to>
                                        <p:strVal val="visible"/>
                                      </p:to>
                                    </p:set>
                                    <p:animEffect transition="in" filter="fade">
                                      <p:cBhvr>
                                        <p:cTn id="61" dur="500"/>
                                        <p:tgtEl>
                                          <p:spTgt spid="16"/>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6"/>
                                        </p:tgtEl>
                                        <p:attrNameLst>
                                          <p:attrName>style.visibility</p:attrName>
                                        </p:attrNameLst>
                                      </p:cBhvr>
                                      <p:to>
                                        <p:strVal val="visible"/>
                                      </p:to>
                                    </p:set>
                                    <p:animEffect transition="in" filter="fade">
                                      <p:cBhvr>
                                        <p:cTn id="64" dur="500"/>
                                        <p:tgtEl>
                                          <p:spTgt spid="6"/>
                                        </p:tgtEl>
                                      </p:cBhvr>
                                    </p:animEffect>
                                  </p:childTnLst>
                                </p:cTn>
                              </p:par>
                            </p:childTnLst>
                          </p:cTn>
                        </p:par>
                        <p:par>
                          <p:cTn id="65" fill="hold">
                            <p:stCondLst>
                              <p:cond delay="1000"/>
                            </p:stCondLst>
                            <p:childTnLst>
                              <p:par>
                                <p:cTn id="66" presetID="22" presetClass="entr" presetSubtype="1" fill="hold" nodeType="afterEffect">
                                  <p:stCondLst>
                                    <p:cond delay="0"/>
                                  </p:stCondLst>
                                  <p:childTnLst>
                                    <p:set>
                                      <p:cBhvr>
                                        <p:cTn id="67" dur="1" fill="hold">
                                          <p:stCondLst>
                                            <p:cond delay="0"/>
                                          </p:stCondLst>
                                        </p:cTn>
                                        <p:tgtEl>
                                          <p:spTgt spid="39"/>
                                        </p:tgtEl>
                                        <p:attrNameLst>
                                          <p:attrName>style.visibility</p:attrName>
                                        </p:attrNameLst>
                                      </p:cBhvr>
                                      <p:to>
                                        <p:strVal val="visible"/>
                                      </p:to>
                                    </p:set>
                                    <p:animEffect transition="in" filter="wipe(up)">
                                      <p:cBhvr>
                                        <p:cTn id="68" dur="500"/>
                                        <p:tgtEl>
                                          <p:spTgt spid="39"/>
                                        </p:tgtEl>
                                      </p:cBhvr>
                                    </p:animEffect>
                                  </p:childTnLst>
                                </p:cTn>
                              </p:par>
                              <p:par>
                                <p:cTn id="69" presetID="22" presetClass="entr" presetSubtype="1" fill="hold" nodeType="withEffect">
                                  <p:stCondLst>
                                    <p:cond delay="0"/>
                                  </p:stCondLst>
                                  <p:childTnLst>
                                    <p:set>
                                      <p:cBhvr>
                                        <p:cTn id="70" dur="1" fill="hold">
                                          <p:stCondLst>
                                            <p:cond delay="0"/>
                                          </p:stCondLst>
                                        </p:cTn>
                                        <p:tgtEl>
                                          <p:spTgt spid="36"/>
                                        </p:tgtEl>
                                        <p:attrNameLst>
                                          <p:attrName>style.visibility</p:attrName>
                                        </p:attrNameLst>
                                      </p:cBhvr>
                                      <p:to>
                                        <p:strVal val="visible"/>
                                      </p:to>
                                    </p:set>
                                    <p:animEffect transition="in" filter="wipe(up)">
                                      <p:cBhvr>
                                        <p:cTn id="71" dur="500"/>
                                        <p:tgtEl>
                                          <p:spTgt spid="36"/>
                                        </p:tgtEl>
                                      </p:cBhvr>
                                    </p:animEffect>
                                  </p:childTnLst>
                                </p:cTn>
                              </p:par>
                            </p:childTnLst>
                          </p:cTn>
                        </p:par>
                        <p:par>
                          <p:cTn id="72" fill="hold">
                            <p:stCondLst>
                              <p:cond delay="1500"/>
                            </p:stCondLst>
                            <p:childTnLst>
                              <p:par>
                                <p:cTn id="73" presetID="19" presetClass="emph" presetSubtype="0" fill="remove" grpId="0" nodeType="afterEffect">
                                  <p:stCondLst>
                                    <p:cond delay="0"/>
                                  </p:stCondLst>
                                  <p:childTnLst>
                                    <p:animClr clrSpc="rgb" dir="cw">
                                      <p:cBhvr override="childStyle">
                                        <p:cTn id="74" dur="2000" fill="hold"/>
                                        <p:tgtEl>
                                          <p:spTgt spid="20"/>
                                        </p:tgtEl>
                                        <p:attrNameLst>
                                          <p:attrName>style.color</p:attrName>
                                        </p:attrNameLst>
                                      </p:cBhvr>
                                      <p:to>
                                        <a:schemeClr val="accent1"/>
                                      </p:to>
                                    </p:animClr>
                                    <p:animClr clrSpc="rgb" dir="cw">
                                      <p:cBhvr>
                                        <p:cTn id="75" dur="2000" fill="hold"/>
                                        <p:tgtEl>
                                          <p:spTgt spid="20"/>
                                        </p:tgtEl>
                                        <p:attrNameLst>
                                          <p:attrName>fillcolor</p:attrName>
                                        </p:attrNameLst>
                                      </p:cBhvr>
                                      <p:to>
                                        <a:schemeClr val="accent1"/>
                                      </p:to>
                                    </p:animClr>
                                    <p:set>
                                      <p:cBhvr>
                                        <p:cTn id="76" dur="2000" fill="hold"/>
                                        <p:tgtEl>
                                          <p:spTgt spid="20"/>
                                        </p:tgtEl>
                                        <p:attrNameLst>
                                          <p:attrName>fill.type</p:attrName>
                                        </p:attrNameLst>
                                      </p:cBhvr>
                                      <p:to>
                                        <p:strVal val="solid"/>
                                      </p:to>
                                    </p:set>
                                    <p:set>
                                      <p:cBhvr>
                                        <p:cTn id="77" dur="2000" fill="hold"/>
                                        <p:tgtEl>
                                          <p:spTgt spid="20"/>
                                        </p:tgtEl>
                                        <p:attrNameLst>
                                          <p:attrName>fill.on</p:attrName>
                                        </p:attrNameLst>
                                      </p:cBhvr>
                                      <p:to>
                                        <p:strVal val="true"/>
                                      </p:to>
                                    </p:set>
                                  </p:childTnLst>
                                </p:cTn>
                              </p:par>
                              <p:par>
                                <p:cTn id="78" presetID="19" presetClass="emph" presetSubtype="0" fill="remove" grpId="0" nodeType="withEffect">
                                  <p:stCondLst>
                                    <p:cond delay="0"/>
                                  </p:stCondLst>
                                  <p:childTnLst>
                                    <p:animClr clrSpc="rgb" dir="cw">
                                      <p:cBhvr override="childStyle">
                                        <p:cTn id="79" dur="2000" fill="hold"/>
                                        <p:tgtEl>
                                          <p:spTgt spid="18"/>
                                        </p:tgtEl>
                                        <p:attrNameLst>
                                          <p:attrName>style.color</p:attrName>
                                        </p:attrNameLst>
                                      </p:cBhvr>
                                      <p:to>
                                        <a:schemeClr val="accent1"/>
                                      </p:to>
                                    </p:animClr>
                                    <p:animClr clrSpc="rgb" dir="cw">
                                      <p:cBhvr>
                                        <p:cTn id="80" dur="2000" fill="hold"/>
                                        <p:tgtEl>
                                          <p:spTgt spid="18"/>
                                        </p:tgtEl>
                                        <p:attrNameLst>
                                          <p:attrName>fillcolor</p:attrName>
                                        </p:attrNameLst>
                                      </p:cBhvr>
                                      <p:to>
                                        <a:schemeClr val="accent1"/>
                                      </p:to>
                                    </p:animClr>
                                    <p:set>
                                      <p:cBhvr>
                                        <p:cTn id="81" dur="2000" fill="hold"/>
                                        <p:tgtEl>
                                          <p:spTgt spid="18"/>
                                        </p:tgtEl>
                                        <p:attrNameLst>
                                          <p:attrName>fill.type</p:attrName>
                                        </p:attrNameLst>
                                      </p:cBhvr>
                                      <p:to>
                                        <p:strVal val="solid"/>
                                      </p:to>
                                    </p:set>
                                    <p:set>
                                      <p:cBhvr>
                                        <p:cTn id="82" dur="2000" fill="hold"/>
                                        <p:tgtEl>
                                          <p:spTgt spid="18"/>
                                        </p:tgtEl>
                                        <p:attrNameLst>
                                          <p:attrName>fill.on</p:attrName>
                                        </p:attrNameLst>
                                      </p:cBhvr>
                                      <p:to>
                                        <p:strVal val="true"/>
                                      </p:to>
                                    </p:set>
                                  </p:childTnLst>
                                </p:cTn>
                              </p:par>
                              <p:par>
                                <p:cTn id="83" presetID="19" presetClass="emph" presetSubtype="0" fill="remove" grpId="0" nodeType="withEffect">
                                  <p:stCondLst>
                                    <p:cond delay="0"/>
                                  </p:stCondLst>
                                  <p:childTnLst>
                                    <p:animClr clrSpc="rgb" dir="cw">
                                      <p:cBhvr override="childStyle">
                                        <p:cTn id="84" dur="2000" fill="hold"/>
                                        <p:tgtEl>
                                          <p:spTgt spid="21"/>
                                        </p:tgtEl>
                                        <p:attrNameLst>
                                          <p:attrName>style.color</p:attrName>
                                        </p:attrNameLst>
                                      </p:cBhvr>
                                      <p:to>
                                        <a:schemeClr val="accent1"/>
                                      </p:to>
                                    </p:animClr>
                                    <p:animClr clrSpc="rgb" dir="cw">
                                      <p:cBhvr>
                                        <p:cTn id="85" dur="2000" fill="hold"/>
                                        <p:tgtEl>
                                          <p:spTgt spid="21"/>
                                        </p:tgtEl>
                                        <p:attrNameLst>
                                          <p:attrName>fillcolor</p:attrName>
                                        </p:attrNameLst>
                                      </p:cBhvr>
                                      <p:to>
                                        <a:schemeClr val="accent1"/>
                                      </p:to>
                                    </p:animClr>
                                    <p:set>
                                      <p:cBhvr>
                                        <p:cTn id="86" dur="2000" fill="hold"/>
                                        <p:tgtEl>
                                          <p:spTgt spid="21"/>
                                        </p:tgtEl>
                                        <p:attrNameLst>
                                          <p:attrName>fill.type</p:attrName>
                                        </p:attrNameLst>
                                      </p:cBhvr>
                                      <p:to>
                                        <p:strVal val="solid"/>
                                      </p:to>
                                    </p:set>
                                    <p:set>
                                      <p:cBhvr>
                                        <p:cTn id="87" dur="2000" fill="hold"/>
                                        <p:tgtEl>
                                          <p:spTgt spid="21"/>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2" grpId="0" animBg="1"/>
      <p:bldP spid="13" grpId="0" animBg="1"/>
      <p:bldP spid="16" grpId="0" animBg="1"/>
      <p:bldP spid="17" grpId="0" animBg="1"/>
      <p:bldP spid="19" grpId="0" animBg="1"/>
      <p:bldP spid="21" grpId="0" animBg="1"/>
      <p:bldP spid="18" grpId="0" animBg="1"/>
      <p:bldP spid="20" grpId="0" animBg="1"/>
      <p:bldP spid="8" grpId="0" animBg="1"/>
      <p:bldP spid="8" grpId="1" animBg="1"/>
      <p:bldP spid="9" grpId="0" animBg="1"/>
      <p:bldP spid="11"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Persistent Disks and Highly Durable</a:t>
            </a:r>
          </a:p>
        </p:txBody>
      </p:sp>
      <p:sp>
        <p:nvSpPr>
          <p:cNvPr id="5" name="Rectangle 4"/>
          <p:cNvSpPr/>
          <p:nvPr/>
        </p:nvSpPr>
        <p:spPr bwMode="auto">
          <a:xfrm>
            <a:off x="5271716" y="2274080"/>
            <a:ext cx="3491285" cy="2431277"/>
          </a:xfrm>
          <a:prstGeom prst="rect">
            <a:avLst/>
          </a:prstGeom>
          <a:solidFill>
            <a:schemeClr val="accent4"/>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a:t>
            </a:r>
          </a:p>
        </p:txBody>
      </p:sp>
      <p:sp>
        <p:nvSpPr>
          <p:cNvPr id="6" name="Rectangle 5"/>
          <p:cNvSpPr/>
          <p:nvPr/>
        </p:nvSpPr>
        <p:spPr bwMode="auto">
          <a:xfrm>
            <a:off x="381001" y="819152"/>
            <a:ext cx="2815424" cy="1831989"/>
          </a:xfrm>
          <a:prstGeom prst="rect">
            <a:avLst/>
          </a:prstGeom>
          <a:solidFill>
            <a:schemeClr val="accent2"/>
          </a:solidFill>
          <a:ln w="9525" cap="flat" cmpd="sng" algn="ctr">
            <a:noFill/>
            <a:prstDash val="solid"/>
            <a:headEnd type="none" w="med" len="med"/>
            <a:tailEnd type="none" w="med" len="med"/>
          </a:ln>
          <a:effectLst/>
        </p:spPr>
        <p:txBody>
          <a:bodyPr vert="horz" wrap="square" lIns="91412" tIns="91412" rIns="91412" bIns="91412" numCol="1" rtlCol="0" anchor="b" anchorCtr="0" compatLnSpc="1">
            <a:prstTxWarp prst="textNoShape">
              <a:avLst/>
            </a:prstTxWarp>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Windows Azure Storage </a:t>
            </a:r>
            <a:r>
              <a:rPr lang="en-US"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Disaster Recovery)</a:t>
            </a:r>
          </a:p>
        </p:txBody>
      </p:sp>
      <p:sp>
        <p:nvSpPr>
          <p:cNvPr id="7" name="Rectangle 6"/>
          <p:cNvSpPr/>
          <p:nvPr/>
        </p:nvSpPr>
        <p:spPr bwMode="auto">
          <a:xfrm>
            <a:off x="381000" y="2736342"/>
            <a:ext cx="1363347" cy="1961388"/>
          </a:xfrm>
          <a:prstGeom prst="rect">
            <a:avLst/>
          </a:prstGeom>
          <a:solidFill>
            <a:schemeClr val="accent2"/>
          </a:solidFill>
          <a:ln w="9525" cap="flat" cmpd="sng" algn="ctr">
            <a:noFill/>
            <a:prstDash val="solid"/>
            <a:headEnd type="none" w="med" len="med"/>
            <a:tailEnd type="none" w="med" len="med"/>
          </a:ln>
          <a:effectLst/>
        </p:spPr>
        <p:txBody>
          <a:bodyPr vert="horz" wrap="square" lIns="68589" tIns="68589" rIns="68589" bIns="68589" numCol="1" rtlCol="0" anchor="t" anchorCtr="0" compatLnSpc="1">
            <a:prstTxWarp prst="textNoShape">
              <a:avLst/>
            </a:prstTxWarp>
          </a:bodyPr>
          <a:lstStyle/>
          <a:p>
            <a:pPr>
              <a:lnSpc>
                <a:spcPct val="90000"/>
              </a:lnSpc>
              <a:buSzPct val="90000"/>
            </a:pPr>
            <a:endPar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endParaRPr>
          </a:p>
        </p:txBody>
      </p:sp>
      <p:sp>
        <p:nvSpPr>
          <p:cNvPr id="22" name="Freeform 128"/>
          <p:cNvSpPr>
            <a:spLocks noChangeAspect="1"/>
          </p:cNvSpPr>
          <p:nvPr/>
        </p:nvSpPr>
        <p:spPr bwMode="black">
          <a:xfrm>
            <a:off x="469866" y="3125621"/>
            <a:ext cx="1132168" cy="625426"/>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12" tIns="45706" rIns="91412" bIns="45706" numCol="1" anchor="t" anchorCtr="0" compatLnSpc="1">
            <a:prstTxWarp prst="textNoShape">
              <a:avLst/>
            </a:prstTxWarp>
          </a:bodyPr>
          <a:lstStyle/>
          <a:p>
            <a:endParaRPr lang="en-US">
              <a:solidFill>
                <a:srgbClr val="292929"/>
              </a:solidFill>
            </a:endParaRPr>
          </a:p>
        </p:txBody>
      </p:sp>
      <p:pic>
        <p:nvPicPr>
          <p:cNvPr id="7170"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934376" y="3306130"/>
            <a:ext cx="203148" cy="3356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42" name="Straight Connector 41"/>
          <p:cNvCxnSpPr/>
          <p:nvPr/>
        </p:nvCxnSpPr>
        <p:spPr>
          <a:xfrm flipV="1">
            <a:off x="1744347" y="3010662"/>
            <a:ext cx="4233355" cy="645639"/>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 name="Multiply 2"/>
          <p:cNvSpPr/>
          <p:nvPr/>
        </p:nvSpPr>
        <p:spPr bwMode="auto">
          <a:xfrm>
            <a:off x="316407" y="2703374"/>
            <a:ext cx="1487181" cy="1487181"/>
          </a:xfrm>
          <a:prstGeom prst="mathMultiply">
            <a:avLst/>
          </a:prstGeom>
          <a:solidFill>
            <a:schemeClr val="bg1"/>
          </a:solidFill>
          <a:ln w="28575">
            <a:solidFill>
              <a:schemeClr val="accent5"/>
            </a:solid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8" tIns="45704" rIns="91408" bIns="45704" numCol="1" rtlCol="0" anchor="ctr" anchorCtr="0" compatLnSpc="1">
            <a:prstTxWarp prst="textNoShape">
              <a:avLst/>
            </a:prstTxWarp>
          </a:bodyPr>
          <a:lstStyle/>
          <a:p>
            <a:pPr algn="ctr" defTabSz="913833"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28" name="Group 27"/>
          <p:cNvGrpSpPr/>
          <p:nvPr/>
        </p:nvGrpSpPr>
        <p:grpSpPr>
          <a:xfrm>
            <a:off x="1833078" y="2736342"/>
            <a:ext cx="1363347" cy="1961388"/>
            <a:chOff x="2443468" y="3658616"/>
            <a:chExt cx="1817322" cy="2615184"/>
          </a:xfrm>
        </p:grpSpPr>
        <p:sp>
          <p:nvSpPr>
            <p:cNvPr id="35" name="Rectangle 34"/>
            <p:cNvSpPr/>
            <p:nvPr/>
          </p:nvSpPr>
          <p:spPr bwMode="auto">
            <a:xfrm>
              <a:off x="2443468" y="3658616"/>
              <a:ext cx="1817322" cy="2615184"/>
            </a:xfrm>
            <a:prstGeom prst="rect">
              <a:avLst/>
            </a:prstGeom>
            <a:solidFill>
              <a:schemeClr val="accent2"/>
            </a:solidFill>
            <a:ln w="9525" cap="flat" cmpd="sng" algn="ctr">
              <a:noFill/>
              <a:prstDash val="solid"/>
              <a:headEnd type="none" w="med" len="med"/>
              <a:tailEnd type="none" w="med" len="med"/>
            </a:ln>
            <a:effectLst/>
          </p:spPr>
          <p:txBody>
            <a:bodyPr vert="horz" wrap="square" lIns="91440" tIns="91440" rIns="91440" bIns="91440" numCol="1" rtlCol="0" anchor="b" anchorCtr="0" compatLnSpc="1">
              <a:prstTxWarp prst="textNoShape">
                <a:avLst/>
              </a:prstTxWarp>
            </a:bodyPr>
            <a:lstStyle/>
            <a:p>
              <a:pPr>
                <a:lnSpc>
                  <a:spcPct val="90000"/>
                </a:lnSpc>
                <a:buSzPct val="90000"/>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Machine</a:t>
              </a:r>
            </a:p>
          </p:txBody>
        </p:sp>
        <p:sp>
          <p:nvSpPr>
            <p:cNvPr id="37" name="Freeform 128"/>
            <p:cNvSpPr>
              <a:spLocks noChangeAspect="1"/>
            </p:cNvSpPr>
            <p:nvPr/>
          </p:nvSpPr>
          <p:spPr bwMode="black">
            <a:xfrm>
              <a:off x="2633167" y="4199680"/>
              <a:ext cx="1509165" cy="83390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solidFill>
                  <a:srgbClr val="292929"/>
                </a:solidFill>
              </a:endParaRPr>
            </a:p>
          </p:txBody>
        </p:sp>
        <p:pic>
          <p:nvPicPr>
            <p:cNvPr id="3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63515" r="73175"/>
            <a:stretch/>
          </p:blipFill>
          <p:spPr bwMode="auto">
            <a:xfrm>
              <a:off x="3252353" y="4440360"/>
              <a:ext cx="270794" cy="4475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cxnSp>
        <p:nvCxnSpPr>
          <p:cNvPr id="40" name="Straight Connector 39"/>
          <p:cNvCxnSpPr/>
          <p:nvPr/>
        </p:nvCxnSpPr>
        <p:spPr>
          <a:xfrm flipV="1">
            <a:off x="3196425" y="3010662"/>
            <a:ext cx="2794455" cy="64182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3" name="Freeform 79"/>
          <p:cNvSpPr>
            <a:spLocks noEditPoints="1"/>
          </p:cNvSpPr>
          <p:nvPr/>
        </p:nvSpPr>
        <p:spPr bwMode="black">
          <a:xfrm>
            <a:off x="6762228"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4" name="Freeform 79"/>
          <p:cNvSpPr>
            <a:spLocks noEditPoints="1"/>
          </p:cNvSpPr>
          <p:nvPr/>
        </p:nvSpPr>
        <p:spPr bwMode="black">
          <a:xfrm>
            <a:off x="7546757"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5" name="Freeform 79"/>
          <p:cNvSpPr>
            <a:spLocks noEditPoints="1"/>
          </p:cNvSpPr>
          <p:nvPr/>
        </p:nvSpPr>
        <p:spPr bwMode="black">
          <a:xfrm>
            <a:off x="7546757"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46" name="Straight Connector 45"/>
          <p:cNvCxnSpPr/>
          <p:nvPr/>
        </p:nvCxnSpPr>
        <p:spPr>
          <a:xfrm>
            <a:off x="6232829" y="3285537"/>
            <a:ext cx="784529" cy="241823"/>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6232828" y="3285532"/>
            <a:ext cx="0" cy="23603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49" name="Freeform 79"/>
          <p:cNvSpPr>
            <a:spLocks noEditPoints="1"/>
          </p:cNvSpPr>
          <p:nvPr/>
        </p:nvSpPr>
        <p:spPr bwMode="black">
          <a:xfrm>
            <a:off x="5977700"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0" name="Freeform 79"/>
          <p:cNvSpPr>
            <a:spLocks noEditPoints="1"/>
          </p:cNvSpPr>
          <p:nvPr/>
        </p:nvSpPr>
        <p:spPr bwMode="black">
          <a:xfrm>
            <a:off x="6762228" y="3527354"/>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1" name="Rectangle 50"/>
          <p:cNvSpPr/>
          <p:nvPr/>
        </p:nvSpPr>
        <p:spPr>
          <a:xfrm>
            <a:off x="358454" y="4052112"/>
            <a:ext cx="1108252" cy="653239"/>
          </a:xfrm>
          <a:prstGeom prst="rect">
            <a:avLst/>
          </a:prstGeom>
        </p:spPr>
        <p:txBody>
          <a:bodyPr wrap="none" lIns="91412" tIns="45706" rIns="91412" bIns="45706">
            <a:spAutoFit/>
          </a:bodyPr>
          <a:lstStyle/>
          <a:p>
            <a:pPr>
              <a:lnSpc>
                <a:spcPct val="90000"/>
              </a:lnSpc>
              <a:buSzPct val="90000"/>
              <a:defRPr/>
            </a:pP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Virtual </a:t>
            </a:r>
            <a:b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0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Machine</a:t>
            </a:r>
          </a:p>
        </p:txBody>
      </p:sp>
      <p:sp>
        <p:nvSpPr>
          <p:cNvPr id="52" name="Freeform 79"/>
          <p:cNvSpPr>
            <a:spLocks noEditPoints="1"/>
          </p:cNvSpPr>
          <p:nvPr/>
        </p:nvSpPr>
        <p:spPr bwMode="black">
          <a:xfrm>
            <a:off x="121604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3" name="Freeform 79"/>
          <p:cNvSpPr>
            <a:spLocks noEditPoints="1"/>
          </p:cNvSpPr>
          <p:nvPr/>
        </p:nvSpPr>
        <p:spPr bwMode="black">
          <a:xfrm>
            <a:off x="121604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4" name="Freeform 79"/>
          <p:cNvSpPr>
            <a:spLocks noEditPoints="1"/>
          </p:cNvSpPr>
          <p:nvPr/>
        </p:nvSpPr>
        <p:spPr bwMode="black">
          <a:xfrm>
            <a:off x="1648180"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cxnSp>
        <p:nvCxnSpPr>
          <p:cNvPr id="55" name="Straight Connector 54"/>
          <p:cNvCxnSpPr/>
          <p:nvPr/>
        </p:nvCxnSpPr>
        <p:spPr>
          <a:xfrm>
            <a:off x="2358459" y="1711235"/>
            <a:ext cx="3619240" cy="149718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1929245" y="1171302"/>
            <a:ext cx="151077" cy="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nvCxnSpPr>
        <p:spPr>
          <a:xfrm>
            <a:off x="2220853" y="1361279"/>
            <a:ext cx="0" cy="133202"/>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58" name="Freeform 79"/>
          <p:cNvSpPr>
            <a:spLocks noEditPoints="1"/>
          </p:cNvSpPr>
          <p:nvPr/>
        </p:nvSpPr>
        <p:spPr bwMode="black">
          <a:xfrm>
            <a:off x="2080321" y="1494482"/>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59" name="Freeform 79"/>
          <p:cNvSpPr>
            <a:spLocks noEditPoints="1"/>
          </p:cNvSpPr>
          <p:nvPr/>
        </p:nvSpPr>
        <p:spPr bwMode="black">
          <a:xfrm>
            <a:off x="1648180"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60" name="Freeform 79"/>
          <p:cNvSpPr>
            <a:spLocks noEditPoints="1"/>
          </p:cNvSpPr>
          <p:nvPr/>
        </p:nvSpPr>
        <p:spPr bwMode="black">
          <a:xfrm>
            <a:off x="2080321" y="981314"/>
            <a:ext cx="281064" cy="379964"/>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
        <p:nvSpPr>
          <p:cNvPr id="48" name="Freeform 79"/>
          <p:cNvSpPr>
            <a:spLocks noEditPoints="1"/>
          </p:cNvSpPr>
          <p:nvPr/>
        </p:nvSpPr>
        <p:spPr bwMode="black">
          <a:xfrm>
            <a:off x="5977700" y="2595725"/>
            <a:ext cx="510258" cy="689805"/>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284" tIns="41139" rIns="82284" bIns="41139" numCol="1" anchor="t" anchorCtr="0" compatLnSpc="1">
            <a:prstTxWarp prst="textNoShape">
              <a:avLst/>
            </a:prstTxWarp>
          </a:bodyPr>
          <a:lstStyle/>
          <a:p>
            <a:endParaRPr lang="en-US" sz="1600" dirty="0">
              <a:solidFill>
                <a:srgbClr val="292929"/>
              </a:solidFill>
            </a:endParaRPr>
          </a:p>
        </p:txBody>
      </p:sp>
    </p:spTree>
    <p:extLst>
      <p:ext uri="{BB962C8B-B14F-4D97-AF65-F5344CB8AC3E}">
        <p14:creationId xmlns:p14="http://schemas.microsoft.com/office/powerpoint/2010/main" val="1562562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2000" fill="hold"/>
                                        <p:tgtEl>
                                          <p:spTgt spid="7"/>
                                        </p:tgtEl>
                                        <p:attrNameLst>
                                          <p:attrName>style.color</p:attrName>
                                        </p:attrNameLst>
                                      </p:cBhvr>
                                      <p:to>
                                        <a:srgbClr val="FF0000"/>
                                      </p:to>
                                    </p:animClr>
                                    <p:animClr clrSpc="rgb" dir="cw">
                                      <p:cBhvr>
                                        <p:cTn id="7" dur="2000" fill="hold"/>
                                        <p:tgtEl>
                                          <p:spTgt spid="7"/>
                                        </p:tgtEl>
                                        <p:attrNameLst>
                                          <p:attrName>fillcolor</p:attrName>
                                        </p:attrNameLst>
                                      </p:cBhvr>
                                      <p:to>
                                        <a:srgbClr val="FF0000"/>
                                      </p:to>
                                    </p:animClr>
                                    <p:set>
                                      <p:cBhvr>
                                        <p:cTn id="8" dur="2000" fill="hold"/>
                                        <p:tgtEl>
                                          <p:spTgt spid="7"/>
                                        </p:tgtEl>
                                        <p:attrNameLst>
                                          <p:attrName>fill.type</p:attrName>
                                        </p:attrNameLst>
                                      </p:cBhvr>
                                      <p:to>
                                        <p:strVal val="solid"/>
                                      </p:to>
                                    </p:set>
                                    <p:set>
                                      <p:cBhvr>
                                        <p:cTn id="9" dur="2000" fill="hold"/>
                                        <p:tgtEl>
                                          <p:spTgt spid="7"/>
                                        </p:tgtEl>
                                        <p:attrNameLst>
                                          <p:attrName>fill.on</p:attrName>
                                        </p:attrNameLst>
                                      </p:cBhvr>
                                      <p:to>
                                        <p:strVal val="true"/>
                                      </p:to>
                                    </p:set>
                                  </p:childTnLst>
                                </p:cTn>
                              </p:par>
                              <p:par>
                                <p:cTn id="10" presetID="10" presetClass="exit" presetSubtype="0" fill="hold" nodeType="withEffect">
                                  <p:stCondLst>
                                    <p:cond delay="0"/>
                                  </p:stCondLst>
                                  <p:childTnLst>
                                    <p:animEffect transition="out" filter="fade">
                                      <p:cBhvr>
                                        <p:cTn id="11" dur="500"/>
                                        <p:tgtEl>
                                          <p:spTgt spid="7170"/>
                                        </p:tgtEl>
                                      </p:cBhvr>
                                    </p:animEffect>
                                    <p:set>
                                      <p:cBhvr>
                                        <p:cTn id="12" dur="1" fill="hold">
                                          <p:stCondLst>
                                            <p:cond delay="499"/>
                                          </p:stCondLst>
                                        </p:cTn>
                                        <p:tgtEl>
                                          <p:spTgt spid="7170"/>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0" presetClass="exit" presetSubtype="0" fill="hold" grpId="1" nodeType="clickEffect">
                                  <p:stCondLst>
                                    <p:cond delay="0"/>
                                  </p:stCondLst>
                                  <p:childTnLst>
                                    <p:animEffect transition="out" filter="fade">
                                      <p:cBhvr>
                                        <p:cTn id="16" dur="500"/>
                                        <p:tgtEl>
                                          <p:spTgt spid="7"/>
                                        </p:tgtEl>
                                      </p:cBhvr>
                                    </p:animEffect>
                                    <p:set>
                                      <p:cBhvr>
                                        <p:cTn id="17" dur="1" fill="hold">
                                          <p:stCondLst>
                                            <p:cond delay="499"/>
                                          </p:stCondLst>
                                        </p:cTn>
                                        <p:tgtEl>
                                          <p:spTgt spid="7"/>
                                        </p:tgtEl>
                                        <p:attrNameLst>
                                          <p:attrName>style.visibility</p:attrName>
                                        </p:attrNameLst>
                                      </p:cBhvr>
                                      <p:to>
                                        <p:strVal val="hidden"/>
                                      </p:to>
                                    </p:set>
                                  </p:childTnLst>
                                </p:cTn>
                              </p:par>
                              <p:par>
                                <p:cTn id="18" presetID="10" presetClass="exit" presetSubtype="0" fill="hold" grpId="0" nodeType="withEffect">
                                  <p:stCondLst>
                                    <p:cond delay="0"/>
                                  </p:stCondLst>
                                  <p:childTnLst>
                                    <p:animEffect transition="out" filter="fade">
                                      <p:cBhvr>
                                        <p:cTn id="19" dur="500"/>
                                        <p:tgtEl>
                                          <p:spTgt spid="22"/>
                                        </p:tgtEl>
                                      </p:cBhvr>
                                    </p:animEffect>
                                    <p:set>
                                      <p:cBhvr>
                                        <p:cTn id="20" dur="1" fill="hold">
                                          <p:stCondLst>
                                            <p:cond delay="499"/>
                                          </p:stCondLst>
                                        </p:cTn>
                                        <p:tgtEl>
                                          <p:spTgt spid="22"/>
                                        </p:tgtEl>
                                        <p:attrNameLst>
                                          <p:attrName>style.visibility</p:attrName>
                                        </p:attrNameLst>
                                      </p:cBhvr>
                                      <p:to>
                                        <p:strVal val="hidden"/>
                                      </p:to>
                                    </p:set>
                                  </p:childTnLst>
                                </p:cTn>
                              </p:par>
                              <p:par>
                                <p:cTn id="21" presetID="10" presetClass="exit" presetSubtype="0" fill="hold" grpId="0" nodeType="withEffect">
                                  <p:stCondLst>
                                    <p:cond delay="0"/>
                                  </p:stCondLst>
                                  <p:childTnLst>
                                    <p:animEffect transition="out" filter="fade">
                                      <p:cBhvr>
                                        <p:cTn id="22" dur="500"/>
                                        <p:tgtEl>
                                          <p:spTgt spid="3"/>
                                        </p:tgtEl>
                                      </p:cBhvr>
                                    </p:animEffect>
                                    <p:set>
                                      <p:cBhvr>
                                        <p:cTn id="23" dur="1" fill="hold">
                                          <p:stCondLst>
                                            <p:cond delay="499"/>
                                          </p:stCondLst>
                                        </p:cTn>
                                        <p:tgtEl>
                                          <p:spTgt spid="3"/>
                                        </p:tgtEl>
                                        <p:attrNameLst>
                                          <p:attrName>style.visibility</p:attrName>
                                        </p:attrNameLst>
                                      </p:cBhvr>
                                      <p:to>
                                        <p:strVal val="hidden"/>
                                      </p:to>
                                    </p:set>
                                  </p:childTnLst>
                                </p:cTn>
                              </p:par>
                              <p:par>
                                <p:cTn id="24" presetID="10" presetClass="exit" presetSubtype="0" fill="hold" nodeType="withEffect">
                                  <p:stCondLst>
                                    <p:cond delay="0"/>
                                  </p:stCondLst>
                                  <p:childTnLst>
                                    <p:animEffect transition="out" filter="fade">
                                      <p:cBhvr>
                                        <p:cTn id="25" dur="500"/>
                                        <p:tgtEl>
                                          <p:spTgt spid="42"/>
                                        </p:tgtEl>
                                      </p:cBhvr>
                                    </p:animEffect>
                                    <p:set>
                                      <p:cBhvr>
                                        <p:cTn id="26" dur="1" fill="hold">
                                          <p:stCondLst>
                                            <p:cond delay="499"/>
                                          </p:stCondLst>
                                        </p:cTn>
                                        <p:tgtEl>
                                          <p:spTgt spid="42"/>
                                        </p:tgtEl>
                                        <p:attrNameLst>
                                          <p:attrName>style.visibility</p:attrName>
                                        </p:attrNameLst>
                                      </p:cBhvr>
                                      <p:to>
                                        <p:strVal val="hidden"/>
                                      </p:to>
                                    </p:set>
                                  </p:childTnLst>
                                </p:cTn>
                              </p:par>
                            </p:childTnLst>
                          </p:cTn>
                        </p:par>
                        <p:par>
                          <p:cTn id="27" fill="hold">
                            <p:stCondLst>
                              <p:cond delay="500"/>
                            </p:stCondLst>
                            <p:childTnLst>
                              <p:par>
                                <p:cTn id="28" presetID="10" presetClass="entr" presetSubtype="0" fill="hold" nodeType="afterEffect">
                                  <p:stCondLst>
                                    <p:cond delay="0"/>
                                  </p:stCondLst>
                                  <p:childTnLst>
                                    <p:set>
                                      <p:cBhvr>
                                        <p:cTn id="29" dur="1" fill="hold">
                                          <p:stCondLst>
                                            <p:cond delay="0"/>
                                          </p:stCondLst>
                                        </p:cTn>
                                        <p:tgtEl>
                                          <p:spTgt spid="28"/>
                                        </p:tgtEl>
                                        <p:attrNameLst>
                                          <p:attrName>style.visibility</p:attrName>
                                        </p:attrNameLst>
                                      </p:cBhvr>
                                      <p:to>
                                        <p:strVal val="visible"/>
                                      </p:to>
                                    </p:set>
                                    <p:animEffect transition="in" filter="fade">
                                      <p:cBhvr>
                                        <p:cTn id="30" dur="500"/>
                                        <p:tgtEl>
                                          <p:spTgt spid="28"/>
                                        </p:tgtEl>
                                      </p:cBhvr>
                                    </p:animEffect>
                                  </p:childTnLst>
                                </p:cTn>
                              </p:par>
                              <p:par>
                                <p:cTn id="31" presetID="10" presetClass="entr" presetSubtype="0" fill="hold" nodeType="withEffect">
                                  <p:stCondLst>
                                    <p:cond delay="0"/>
                                  </p:stCondLst>
                                  <p:childTnLst>
                                    <p:set>
                                      <p:cBhvr>
                                        <p:cTn id="32" dur="1" fill="hold">
                                          <p:stCondLst>
                                            <p:cond delay="0"/>
                                          </p:stCondLst>
                                        </p:cTn>
                                        <p:tgtEl>
                                          <p:spTgt spid="40"/>
                                        </p:tgtEl>
                                        <p:attrNameLst>
                                          <p:attrName>style.visibility</p:attrName>
                                        </p:attrNameLst>
                                      </p:cBhvr>
                                      <p:to>
                                        <p:strVal val="visible"/>
                                      </p:to>
                                    </p:set>
                                    <p:animEffect transition="in" filter="fade">
                                      <p:cBhvr>
                                        <p:cTn id="33"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7" grpId="1" animBg="1"/>
      <p:bldP spid="22" grpId="0" animBg="1"/>
      <p:bldP spid="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rtual Machine Sizes</a:t>
            </a:r>
          </a:p>
        </p:txBody>
      </p:sp>
      <p:sp>
        <p:nvSpPr>
          <p:cNvPr id="3" name="TextBox 2"/>
          <p:cNvSpPr txBox="1"/>
          <p:nvPr/>
        </p:nvSpPr>
        <p:spPr>
          <a:xfrm>
            <a:off x="876300" y="4151352"/>
            <a:ext cx="7391400" cy="461665"/>
          </a:xfrm>
          <a:prstGeom prst="rect">
            <a:avLst/>
          </a:prstGeom>
          <a:solidFill>
            <a:schemeClr val="accent2">
              <a:lumMod val="20000"/>
              <a:lumOff val="80000"/>
            </a:schemeClr>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ach Persistent Data Disk Can be up to 1 TB</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graphicFrame>
        <p:nvGraphicFramePr>
          <p:cNvPr id="4" name="Table 3"/>
          <p:cNvGraphicFramePr>
            <a:graphicFrameLocks noGrp="1"/>
          </p:cNvGraphicFramePr>
          <p:nvPr>
            <p:extLst>
              <p:ext uri="{D42A27DB-BD31-4B8C-83A1-F6EECF244321}">
                <p14:modId xmlns:p14="http://schemas.microsoft.com/office/powerpoint/2010/main" val="4268235048"/>
              </p:ext>
            </p:extLst>
          </p:nvPr>
        </p:nvGraphicFramePr>
        <p:xfrm>
          <a:off x="876300" y="1123950"/>
          <a:ext cx="7391400" cy="2895600"/>
        </p:xfrm>
        <a:graphic>
          <a:graphicData uri="http://schemas.openxmlformats.org/drawingml/2006/table">
            <a:tbl>
              <a:tblPr firstRow="1" bandRow="1">
                <a:tableStyleId>{2D5ABB26-0587-4C30-8999-92F81FD0307C}</a:tableStyleId>
              </a:tblPr>
              <a:tblGrid>
                <a:gridCol w="1478280"/>
                <a:gridCol w="1478280"/>
                <a:gridCol w="1566977"/>
                <a:gridCol w="1596542"/>
                <a:gridCol w="1271321"/>
              </a:tblGrid>
              <a:tr h="482600">
                <a:tc>
                  <a:txBody>
                    <a:bodyPr/>
                    <a:lstStyle/>
                    <a:p>
                      <a:r>
                        <a:rPr lang="en-US" b="1" dirty="0" smtClean="0">
                          <a:solidFill>
                            <a:schemeClr val="bg1">
                              <a:alpha val="99000"/>
                            </a:schemeClr>
                          </a:solidFill>
                        </a:rPr>
                        <a:t>VM</a:t>
                      </a:r>
                      <a:r>
                        <a:rPr lang="en-US" b="1" baseline="0" dirty="0" smtClean="0">
                          <a:solidFill>
                            <a:schemeClr val="bg1">
                              <a:alpha val="99000"/>
                            </a:schemeClr>
                          </a:solidFill>
                        </a:rPr>
                        <a:t> </a:t>
                      </a:r>
                      <a:r>
                        <a:rPr lang="en-US" b="1" dirty="0" smtClean="0">
                          <a:solidFill>
                            <a:schemeClr val="bg1">
                              <a:alpha val="99000"/>
                            </a:schemeClr>
                          </a:solidFill>
                        </a:rPr>
                        <a:t>Size</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CPU Cores</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Memory</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r>
                        <a:rPr lang="en-US" b="1" dirty="0" smtClean="0">
                          <a:solidFill>
                            <a:schemeClr val="bg1">
                              <a:alpha val="99000"/>
                            </a:schemeClr>
                          </a:solidFill>
                        </a:rPr>
                        <a:t>Bandwidth</a:t>
                      </a:r>
                      <a:endParaRPr lang="en-US" b="1" dirty="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b="1" dirty="0" smtClean="0">
                          <a:solidFill>
                            <a:schemeClr val="bg1">
                              <a:alpha val="99000"/>
                            </a:schemeClr>
                          </a:solidFill>
                        </a:rPr>
                        <a:t>#</a:t>
                      </a:r>
                      <a:r>
                        <a:rPr lang="en-US" b="1" baseline="0" dirty="0" smtClean="0">
                          <a:solidFill>
                            <a:schemeClr val="bg1">
                              <a:alpha val="99000"/>
                            </a:schemeClr>
                          </a:solidFill>
                        </a:rPr>
                        <a:t> Data Disks</a:t>
                      </a:r>
                      <a:endParaRPr lang="en-US" b="1" dirty="0" smtClean="0">
                        <a:solidFill>
                          <a:schemeClr val="bg1">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r>
              <a:tr h="482600">
                <a:tc>
                  <a:txBody>
                    <a:bodyPr/>
                    <a:lstStyle/>
                    <a:p>
                      <a:r>
                        <a:rPr lang="en-US" dirty="0" smtClean="0">
                          <a:solidFill>
                            <a:schemeClr val="tx2">
                              <a:lumMod val="75000"/>
                              <a:alpha val="99000"/>
                            </a:schemeClr>
                          </a:solidFill>
                        </a:rPr>
                        <a:t>Extra 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Shared</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68 M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dirty="0" smtClean="0">
                          <a:solidFill>
                            <a:schemeClr val="tx2">
                              <a:lumMod val="75000"/>
                              <a:alpha val="99000"/>
                            </a:schemeClr>
                          </a:solidFill>
                        </a:rPr>
                        <a:t>5 (Mbps)</a:t>
                      </a: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Small</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75</a:t>
                      </a:r>
                      <a:r>
                        <a:rPr lang="en-US" baseline="0" dirty="0" smtClean="0">
                          <a:solidFill>
                            <a:schemeClr val="tx2">
                              <a:lumMod val="75000"/>
                              <a:alpha val="99000"/>
                            </a:schemeClr>
                          </a:solidFill>
                        </a:rPr>
                        <a:t>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Medium</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3.5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2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7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400 (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82600">
                <a:tc>
                  <a:txBody>
                    <a:bodyPr/>
                    <a:lstStyle/>
                    <a:p>
                      <a:r>
                        <a:rPr lang="en-US" dirty="0" smtClean="0">
                          <a:solidFill>
                            <a:schemeClr val="tx2">
                              <a:lumMod val="75000"/>
                              <a:alpha val="99000"/>
                            </a:schemeClr>
                          </a:solidFill>
                        </a:rPr>
                        <a:t>Extra Large</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4 GB</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800 </a:t>
                      </a:r>
                      <a:r>
                        <a:rPr lang="en-US" smtClean="0">
                          <a:solidFill>
                            <a:schemeClr val="tx2">
                              <a:lumMod val="75000"/>
                              <a:alpha val="99000"/>
                            </a:schemeClr>
                          </a:solidFill>
                        </a:rPr>
                        <a:t>(Mbps)</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r>
                        <a:rPr lang="en-US" dirty="0" smtClean="0">
                          <a:solidFill>
                            <a:schemeClr val="tx2">
                              <a:lumMod val="75000"/>
                              <a:alpha val="99000"/>
                            </a:schemeClr>
                          </a:solidFill>
                        </a:rPr>
                        <a:t>16</a:t>
                      </a:r>
                      <a:endParaRPr lang="en-US" dirty="0">
                        <a:solidFill>
                          <a:schemeClr val="tx2">
                            <a:lumMod val="75000"/>
                            <a:alpha val="99000"/>
                          </a:schemeClr>
                        </a:solidFill>
                      </a:endParaRPr>
                    </a:p>
                  </a:txBody>
                  <a:tcPr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bl>
          </a:graphicData>
        </a:graphic>
      </p:graphicFrame>
    </p:spTree>
    <p:extLst>
      <p:ext uri="{BB962C8B-B14F-4D97-AF65-F5344CB8AC3E}">
        <p14:creationId xmlns:p14="http://schemas.microsoft.com/office/powerpoint/2010/main" val="683814906"/>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sk Caching</a:t>
            </a:r>
            <a:endParaRPr lang="en-US" dirty="0"/>
          </a:p>
        </p:txBody>
      </p:sp>
      <p:graphicFrame>
        <p:nvGraphicFramePr>
          <p:cNvPr id="3" name="Table 2"/>
          <p:cNvGraphicFramePr>
            <a:graphicFrameLocks noGrp="1"/>
          </p:cNvGraphicFramePr>
          <p:nvPr>
            <p:extLst>
              <p:ext uri="{D42A27DB-BD31-4B8C-83A1-F6EECF244321}">
                <p14:modId xmlns:p14="http://schemas.microsoft.com/office/powerpoint/2010/main" val="3665594208"/>
              </p:ext>
            </p:extLst>
          </p:nvPr>
        </p:nvGraphicFramePr>
        <p:xfrm>
          <a:off x="890546" y="1602927"/>
          <a:ext cx="7369203" cy="1259840"/>
        </p:xfrm>
        <a:graphic>
          <a:graphicData uri="http://schemas.openxmlformats.org/drawingml/2006/table">
            <a:tbl>
              <a:tblPr firstRow="1" bandRow="1">
                <a:tableStyleId>{284E427A-3D55-4303-BF80-6455036E1DE7}</a:tableStyleId>
              </a:tblPr>
              <a:tblGrid>
                <a:gridCol w="2032000"/>
                <a:gridCol w="2032000"/>
                <a:gridCol w="3305203"/>
              </a:tblGrid>
              <a:tr h="370840">
                <a:tc>
                  <a:txBody>
                    <a:bodyPr/>
                    <a:lstStyle/>
                    <a:p>
                      <a:r>
                        <a:rPr lang="en-US" dirty="0" smtClean="0">
                          <a:solidFill>
                            <a:schemeClr val="bg1"/>
                          </a:solidFill>
                        </a:rPr>
                        <a:t>Disk Type</a:t>
                      </a:r>
                      <a:endParaRPr lang="en-US" dirty="0">
                        <a:solidFill>
                          <a:schemeClr val="bg1"/>
                        </a:solidFill>
                      </a:endParaRPr>
                    </a:p>
                  </a:txBody>
                  <a:tcPr/>
                </a:tc>
                <a:tc>
                  <a:txBody>
                    <a:bodyPr/>
                    <a:lstStyle/>
                    <a:p>
                      <a:r>
                        <a:rPr lang="en-US" dirty="0" smtClean="0">
                          <a:solidFill>
                            <a:schemeClr val="bg1"/>
                          </a:solidFill>
                        </a:rPr>
                        <a:t>Default</a:t>
                      </a:r>
                      <a:endParaRPr lang="en-US" dirty="0">
                        <a:solidFill>
                          <a:schemeClr val="bg1"/>
                        </a:solidFill>
                      </a:endParaRPr>
                    </a:p>
                  </a:txBody>
                  <a:tcPr/>
                </a:tc>
                <a:tc>
                  <a:txBody>
                    <a:bodyPr/>
                    <a:lstStyle/>
                    <a:p>
                      <a:r>
                        <a:rPr lang="en-US" dirty="0" smtClean="0">
                          <a:solidFill>
                            <a:schemeClr val="bg1"/>
                          </a:solidFill>
                        </a:rPr>
                        <a:t>Supported</a:t>
                      </a:r>
                      <a:endParaRPr lang="en-US" dirty="0">
                        <a:solidFill>
                          <a:schemeClr val="bg1"/>
                        </a:solidFill>
                      </a:endParaRPr>
                    </a:p>
                  </a:txBody>
                  <a:tcPr/>
                </a:tc>
              </a:tr>
              <a:tr h="370840">
                <a:tc>
                  <a:txBody>
                    <a:bodyPr/>
                    <a:lstStyle/>
                    <a:p>
                      <a:r>
                        <a:rPr lang="en-US" dirty="0" smtClean="0">
                          <a:solidFill>
                            <a:schemeClr val="bg1"/>
                          </a:solidFill>
                        </a:rPr>
                        <a:t>OS Disk</a:t>
                      </a:r>
                      <a:endParaRPr lang="en-US" dirty="0">
                        <a:solidFill>
                          <a:schemeClr val="bg1"/>
                        </a:solidFill>
                      </a:endParaRPr>
                    </a:p>
                  </a:txBody>
                  <a:tcPr/>
                </a:tc>
                <a:tc>
                  <a:txBody>
                    <a:bodyPr/>
                    <a:lstStyle/>
                    <a:p>
                      <a:r>
                        <a:rPr lang="en-US" dirty="0" err="1" smtClean="0">
                          <a:solidFill>
                            <a:schemeClr val="bg1"/>
                          </a:solidFill>
                        </a:rPr>
                        <a:t>ReadWrite</a:t>
                      </a:r>
                      <a:endParaRPr lang="en-US" dirty="0">
                        <a:solidFill>
                          <a:schemeClr val="bg1"/>
                        </a:solidFill>
                      </a:endParaRPr>
                    </a:p>
                  </a:txBody>
                  <a:tcPr/>
                </a:tc>
                <a:tc>
                  <a:txBody>
                    <a:bodyPr/>
                    <a:lstStyle/>
                    <a:p>
                      <a:pPr marL="0" marR="0" indent="0" algn="l" defTabSz="685835" rtl="0" eaLnBrk="1" fontAlgn="auto" latinLnBrk="0" hangingPunct="1">
                        <a:lnSpc>
                          <a:spcPct val="100000"/>
                        </a:lnSpc>
                        <a:spcBef>
                          <a:spcPts val="0"/>
                        </a:spcBef>
                        <a:spcAft>
                          <a:spcPts val="0"/>
                        </a:spcAft>
                        <a:buClrTx/>
                        <a:buSzTx/>
                        <a:buFontTx/>
                        <a:buNone/>
                        <a:tabLst/>
                        <a:defRPr/>
                      </a:pPr>
                      <a:r>
                        <a:rPr lang="en-US" dirty="0" err="1" smtClean="0">
                          <a:solidFill>
                            <a:schemeClr val="bg1"/>
                          </a:solidFill>
                        </a:rPr>
                        <a:t>ReadOnly</a:t>
                      </a:r>
                      <a:r>
                        <a:rPr lang="en-US" baseline="0" dirty="0" smtClean="0">
                          <a:solidFill>
                            <a:schemeClr val="bg1"/>
                          </a:solidFill>
                        </a:rPr>
                        <a:t> and </a:t>
                      </a:r>
                      <a:r>
                        <a:rPr lang="en-US" baseline="0" dirty="0" err="1" smtClean="0">
                          <a:solidFill>
                            <a:schemeClr val="bg1"/>
                          </a:solidFill>
                        </a:rPr>
                        <a:t>ReadWrite</a:t>
                      </a:r>
                      <a:endParaRPr lang="en-US" dirty="0" smtClean="0">
                        <a:solidFill>
                          <a:schemeClr val="bg1"/>
                        </a:solidFill>
                      </a:endParaRPr>
                    </a:p>
                    <a:p>
                      <a:endParaRPr lang="en-US" dirty="0">
                        <a:solidFill>
                          <a:schemeClr val="bg1"/>
                        </a:solidFill>
                      </a:endParaRPr>
                    </a:p>
                  </a:txBody>
                  <a:tcPr/>
                </a:tc>
              </a:tr>
              <a:tr h="370840">
                <a:tc>
                  <a:txBody>
                    <a:bodyPr/>
                    <a:lstStyle/>
                    <a:p>
                      <a:r>
                        <a:rPr lang="en-US" dirty="0" smtClean="0">
                          <a:solidFill>
                            <a:schemeClr val="bg1"/>
                          </a:solidFill>
                        </a:rPr>
                        <a:t>Data Disk</a:t>
                      </a:r>
                      <a:endParaRPr lang="en-US" dirty="0">
                        <a:solidFill>
                          <a:schemeClr val="bg1"/>
                        </a:solidFill>
                      </a:endParaRPr>
                    </a:p>
                  </a:txBody>
                  <a:tcPr/>
                </a:tc>
                <a:tc>
                  <a:txBody>
                    <a:bodyPr/>
                    <a:lstStyle/>
                    <a:p>
                      <a:r>
                        <a:rPr lang="en-US" dirty="0" smtClean="0">
                          <a:solidFill>
                            <a:schemeClr val="bg1"/>
                          </a:solidFill>
                        </a:rPr>
                        <a:t>None</a:t>
                      </a:r>
                      <a:endParaRPr lang="en-US" dirty="0">
                        <a:solidFill>
                          <a:schemeClr val="bg1"/>
                        </a:solidFill>
                      </a:endParaRPr>
                    </a:p>
                  </a:txBody>
                  <a:tcPr/>
                </a:tc>
                <a:tc>
                  <a:txBody>
                    <a:bodyPr/>
                    <a:lstStyle/>
                    <a:p>
                      <a:r>
                        <a:rPr lang="en-US" dirty="0" smtClean="0">
                          <a:solidFill>
                            <a:schemeClr val="bg1"/>
                          </a:solidFill>
                        </a:rPr>
                        <a:t>None, </a:t>
                      </a:r>
                      <a:r>
                        <a:rPr lang="en-US" dirty="0" err="1" smtClean="0">
                          <a:solidFill>
                            <a:schemeClr val="bg1"/>
                          </a:solidFill>
                        </a:rPr>
                        <a:t>ReadOnly</a:t>
                      </a:r>
                      <a:r>
                        <a:rPr lang="en-US" baseline="0" dirty="0" smtClean="0">
                          <a:solidFill>
                            <a:schemeClr val="bg1"/>
                          </a:solidFill>
                        </a:rPr>
                        <a:t> and </a:t>
                      </a:r>
                      <a:r>
                        <a:rPr lang="en-US" baseline="0" dirty="0" err="1" smtClean="0">
                          <a:solidFill>
                            <a:schemeClr val="bg1"/>
                          </a:solidFill>
                        </a:rPr>
                        <a:t>ReadWrite</a:t>
                      </a:r>
                      <a:endParaRPr lang="en-US" dirty="0">
                        <a:solidFill>
                          <a:schemeClr val="bg1"/>
                        </a:solidFill>
                      </a:endParaRPr>
                    </a:p>
                  </a:txBody>
                  <a:tcPr/>
                </a:tc>
              </a:tr>
            </a:tbl>
          </a:graphicData>
        </a:graphic>
      </p:graphicFrame>
      <p:sp>
        <p:nvSpPr>
          <p:cNvPr id="5" name="TextBox 4"/>
          <p:cNvSpPr txBox="1"/>
          <p:nvPr/>
        </p:nvSpPr>
        <p:spPr>
          <a:xfrm>
            <a:off x="882595" y="2966577"/>
            <a:ext cx="7391400" cy="461665"/>
          </a:xfrm>
          <a:prstGeom prst="rect">
            <a:avLst/>
          </a:prstGeom>
          <a:solidFill>
            <a:schemeClr val="accent4"/>
          </a:solidFill>
          <a:ln w="38100">
            <a:solidFill>
              <a:schemeClr val="bg1"/>
            </a:solidFill>
          </a:ln>
        </p:spPr>
        <p:txBody>
          <a:bodyPr wrap="square" lIns="91440" tIns="91440" rIns="91440" bIns="91440" rtlCol="0">
            <a:spAutoFit/>
          </a:bodyPr>
          <a:lstStyle/>
          <a:p>
            <a:pPr algn="ctr">
              <a:lnSpc>
                <a:spcPct val="90000"/>
              </a:lnSpc>
              <a:spcBef>
                <a:spcPct val="20000"/>
              </a:spcBef>
              <a:buSzPct val="80000"/>
            </a:pPr>
            <a:r>
              <a:rPr lang="en-US" sz="2000" dirty="0" smtClean="0">
                <a:solidFill>
                  <a:schemeClr val="bg1"/>
                </a:solidFill>
              </a:rPr>
              <a:t>Modify using Set-</a:t>
            </a:r>
            <a:r>
              <a:rPr lang="en-US" sz="2000" dirty="0" err="1" smtClean="0">
                <a:solidFill>
                  <a:schemeClr val="bg1"/>
                </a:solidFill>
              </a:rPr>
              <a:t>AzureOSDisk</a:t>
            </a:r>
            <a:r>
              <a:rPr lang="en-US" sz="2000" dirty="0" smtClean="0">
                <a:solidFill>
                  <a:schemeClr val="bg1"/>
                </a:solidFill>
              </a:rPr>
              <a:t> or Set-</a:t>
            </a:r>
            <a:r>
              <a:rPr lang="en-US" sz="2000" dirty="0" err="1" smtClean="0">
                <a:solidFill>
                  <a:schemeClr val="bg1"/>
                </a:solidFill>
              </a:rPr>
              <a:t>AzureDataDisk</a:t>
            </a:r>
            <a:endParaRPr lang="en-US" sz="2000" dirty="0">
              <a:solidFill>
                <a:schemeClr val="bg1"/>
              </a:solidFill>
            </a:endParaRPr>
          </a:p>
        </p:txBody>
      </p:sp>
    </p:spTree>
    <p:extLst>
      <p:ext uri="{BB962C8B-B14F-4D97-AF65-F5344CB8AC3E}">
        <p14:creationId xmlns:p14="http://schemas.microsoft.com/office/powerpoint/2010/main" val="375401850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Management and Automation</a:t>
            </a:r>
            <a:endParaRPr lang="en-US" dirty="0"/>
          </a:p>
        </p:txBody>
      </p:sp>
      <p:sp>
        <p:nvSpPr>
          <p:cNvPr id="3" name="Content Placeholder 2"/>
          <p:cNvSpPr>
            <a:spLocks noGrp="1"/>
          </p:cNvSpPr>
          <p:nvPr>
            <p:ph type="body" sz="quarter" idx="10"/>
          </p:nvPr>
        </p:nvSpPr>
        <p:spPr>
          <a:xfrm>
            <a:off x="381000" y="1073150"/>
            <a:ext cx="6096000" cy="3490186"/>
          </a:xfrm>
        </p:spPr>
        <p:txBody>
          <a:bodyPr/>
          <a:lstStyle/>
          <a:p>
            <a:r>
              <a:rPr lang="en-US" sz="1800" dirty="0">
                <a:solidFill>
                  <a:schemeClr val="accent2">
                    <a:alpha val="99000"/>
                  </a:schemeClr>
                </a:solidFill>
              </a:rPr>
              <a:t>Active Directory Group Policy </a:t>
            </a:r>
          </a:p>
          <a:p>
            <a:endParaRPr lang="en-US" sz="1800" dirty="0">
              <a:solidFill>
                <a:schemeClr val="accent2">
                  <a:alpha val="99000"/>
                </a:schemeClr>
              </a:solidFill>
            </a:endParaRPr>
          </a:p>
          <a:p>
            <a:r>
              <a:rPr lang="en-US" sz="1800" dirty="0">
                <a:solidFill>
                  <a:schemeClr val="accent2">
                    <a:alpha val="99000"/>
                  </a:schemeClr>
                </a:solidFill>
              </a:rPr>
              <a:t>Windows Remote Management (</a:t>
            </a:r>
            <a:r>
              <a:rPr lang="en-US" sz="1800" dirty="0" err="1">
                <a:solidFill>
                  <a:schemeClr val="accent2">
                    <a:alpha val="99000"/>
                  </a:schemeClr>
                </a:solidFill>
              </a:rPr>
              <a:t>WinRM</a:t>
            </a:r>
            <a:r>
              <a:rPr lang="en-US" sz="1800" dirty="0">
                <a:solidFill>
                  <a:schemeClr val="accent2">
                    <a:alpha val="99000"/>
                  </a:schemeClr>
                </a:solidFill>
              </a:rPr>
              <a:t>)</a:t>
            </a:r>
          </a:p>
          <a:p>
            <a:endParaRPr lang="en-US" sz="1800" dirty="0">
              <a:solidFill>
                <a:schemeClr val="accent2">
                  <a:alpha val="99000"/>
                </a:schemeClr>
              </a:solidFill>
            </a:endParaRPr>
          </a:p>
          <a:p>
            <a:r>
              <a:rPr lang="en-US" sz="1800" dirty="0">
                <a:solidFill>
                  <a:schemeClr val="accent2">
                    <a:alpha val="99000"/>
                  </a:schemeClr>
                </a:solidFill>
              </a:rPr>
              <a:t>SCOM 2012 Support for Managing Virtual Machines</a:t>
            </a:r>
          </a:p>
          <a:p>
            <a:endParaRPr lang="en-US" sz="1800" dirty="0">
              <a:solidFill>
                <a:schemeClr val="accent2">
                  <a:alpha val="99000"/>
                </a:schemeClr>
              </a:solidFill>
            </a:endParaRPr>
          </a:p>
          <a:p>
            <a:r>
              <a:rPr lang="en-US" sz="1800" dirty="0">
                <a:solidFill>
                  <a:schemeClr val="accent2">
                    <a:alpha val="99000"/>
                  </a:schemeClr>
                </a:solidFill>
              </a:rPr>
              <a:t>Full REST API for Programmatic Automation </a:t>
            </a:r>
            <a:r>
              <a:rPr lang="en-US" sz="1800" dirty="0" smtClean="0">
                <a:solidFill>
                  <a:schemeClr val="accent2">
                    <a:alpha val="99000"/>
                  </a:schemeClr>
                </a:solidFill>
              </a:rPr>
              <a:t/>
            </a:r>
            <a:br>
              <a:rPr lang="en-US" sz="1800" dirty="0" smtClean="0">
                <a:solidFill>
                  <a:schemeClr val="accent2">
                    <a:alpha val="99000"/>
                  </a:schemeClr>
                </a:solidFill>
              </a:rPr>
            </a:br>
            <a:r>
              <a:rPr lang="en-US" sz="1800" dirty="0" smtClean="0">
                <a:solidFill>
                  <a:schemeClr val="accent2">
                    <a:alpha val="99000"/>
                  </a:schemeClr>
                </a:solidFill>
              </a:rPr>
              <a:t>and </a:t>
            </a:r>
            <a:r>
              <a:rPr lang="en-US" sz="1800" dirty="0">
                <a:solidFill>
                  <a:schemeClr val="accent2">
                    <a:alpha val="99000"/>
                  </a:schemeClr>
                </a:solidFill>
              </a:rPr>
              <a:t>Management</a:t>
            </a:r>
          </a:p>
          <a:p>
            <a:endParaRPr lang="en-US" sz="1800" dirty="0">
              <a:solidFill>
                <a:schemeClr val="accent2">
                  <a:alpha val="99000"/>
                </a:schemeClr>
              </a:solidFill>
            </a:endParaRPr>
          </a:p>
          <a:p>
            <a:r>
              <a:rPr lang="en-US" sz="1800" dirty="0">
                <a:solidFill>
                  <a:schemeClr val="accent2">
                    <a:alpha val="99000"/>
                  </a:schemeClr>
                </a:solidFill>
              </a:rPr>
              <a:t>Windows Azure PowerShell </a:t>
            </a:r>
            <a:r>
              <a:rPr lang="en-US" sz="1800" smtClean="0">
                <a:solidFill>
                  <a:schemeClr val="accent2">
                    <a:alpha val="99000"/>
                  </a:schemeClr>
                </a:solidFill>
              </a:rPr>
              <a:t>Cmdlets</a:t>
            </a:r>
            <a:endParaRPr lang="en-US" sz="1800" dirty="0">
              <a:solidFill>
                <a:schemeClr val="accent2">
                  <a:alpha val="99000"/>
                </a:schemeClr>
              </a:solidFill>
            </a:endParaRPr>
          </a:p>
          <a:p>
            <a:endParaRPr lang="en-US" sz="1800" dirty="0">
              <a:solidFill>
                <a:schemeClr val="accent2">
                  <a:alpha val="99000"/>
                </a:schemeClr>
              </a:solidFill>
            </a:endParaRPr>
          </a:p>
          <a:p>
            <a:r>
              <a:rPr lang="en-US" sz="1800" dirty="0">
                <a:solidFill>
                  <a:schemeClr val="accent2">
                    <a:alpha val="99000"/>
                  </a:schemeClr>
                </a:solidFill>
              </a:rPr>
              <a:t>Cross Platform Scripting (Linux, Mac and Windows)</a:t>
            </a:r>
          </a:p>
          <a:p>
            <a:endParaRPr lang="en-US" sz="1800" dirty="0">
              <a:solidFill>
                <a:schemeClr val="accent2">
                  <a:alpha val="99000"/>
                </a:schemeClr>
              </a:solidFill>
            </a:endParaRPr>
          </a:p>
          <a:p>
            <a:r>
              <a:rPr lang="en-US" sz="1800" dirty="0">
                <a:solidFill>
                  <a:schemeClr val="accent2">
                    <a:alpha val="99000"/>
                  </a:schemeClr>
                </a:solidFill>
              </a:rPr>
              <a:t>Windows Azure Monitoring Service (On Roadmap)</a:t>
            </a:r>
          </a:p>
        </p:txBody>
      </p:sp>
      <p:sp>
        <p:nvSpPr>
          <p:cNvPr id="4" name="Freeform 8"/>
          <p:cNvSpPr>
            <a:spLocks noEditPoints="1"/>
          </p:cNvSpPr>
          <p:nvPr/>
        </p:nvSpPr>
        <p:spPr bwMode="black">
          <a:xfrm>
            <a:off x="6553200" y="2343150"/>
            <a:ext cx="2413568" cy="2260380"/>
          </a:xfrm>
          <a:custGeom>
            <a:avLst/>
            <a:gdLst>
              <a:gd name="T0" fmla="*/ 226 w 300"/>
              <a:gd name="T1" fmla="*/ 193 h 300"/>
              <a:gd name="T2" fmla="*/ 233 w 300"/>
              <a:gd name="T3" fmla="*/ 157 h 300"/>
              <a:gd name="T4" fmla="*/ 233 w 300"/>
              <a:gd name="T5" fmla="*/ 128 h 300"/>
              <a:gd name="T6" fmla="*/ 142 w 300"/>
              <a:gd name="T7" fmla="*/ 51 h 300"/>
              <a:gd name="T8" fmla="*/ 52 w 300"/>
              <a:gd name="T9" fmla="*/ 128 h 300"/>
              <a:gd name="T10" fmla="*/ 52 w 300"/>
              <a:gd name="T11" fmla="*/ 157 h 300"/>
              <a:gd name="T12" fmla="*/ 142 w 300"/>
              <a:gd name="T13" fmla="*/ 234 h 300"/>
              <a:gd name="T14" fmla="*/ 183 w 300"/>
              <a:gd name="T15" fmla="*/ 224 h 300"/>
              <a:gd name="T16" fmla="*/ 193 w 300"/>
              <a:gd name="T17" fmla="*/ 226 h 300"/>
              <a:gd name="T18" fmla="*/ 270 w 300"/>
              <a:gd name="T19" fmla="*/ 300 h 300"/>
              <a:gd name="T20" fmla="*/ 298 w 300"/>
              <a:gd name="T21" fmla="*/ 275 h 300"/>
              <a:gd name="T22" fmla="*/ 206 w 300"/>
              <a:gd name="T23" fmla="*/ 157 h 300"/>
              <a:gd name="T24" fmla="*/ 142 w 300"/>
              <a:gd name="T25" fmla="*/ 208 h 300"/>
              <a:gd name="T26" fmla="*/ 78 w 300"/>
              <a:gd name="T27" fmla="*/ 157 h 300"/>
              <a:gd name="T28" fmla="*/ 78 w 300"/>
              <a:gd name="T29" fmla="*/ 128 h 300"/>
              <a:gd name="T30" fmla="*/ 142 w 300"/>
              <a:gd name="T31" fmla="*/ 77 h 300"/>
              <a:gd name="T32" fmla="*/ 206 w 300"/>
              <a:gd name="T33" fmla="*/ 128 h 300"/>
              <a:gd name="T34" fmla="*/ 206 w 300"/>
              <a:gd name="T35" fmla="*/ 157 h 300"/>
              <a:gd name="T36" fmla="*/ 197 w 300"/>
              <a:gd name="T37" fmla="*/ 142 h 300"/>
              <a:gd name="T38" fmla="*/ 156 w 300"/>
              <a:gd name="T39" fmla="*/ 157 h 300"/>
              <a:gd name="T40" fmla="*/ 142 w 300"/>
              <a:gd name="T41" fmla="*/ 197 h 300"/>
              <a:gd name="T42" fmla="*/ 128 w 300"/>
              <a:gd name="T43" fmla="*/ 157 h 300"/>
              <a:gd name="T44" fmla="*/ 87 w 300"/>
              <a:gd name="T45" fmla="*/ 142 h 300"/>
              <a:gd name="T46" fmla="*/ 128 w 300"/>
              <a:gd name="T47" fmla="*/ 128 h 300"/>
              <a:gd name="T48" fmla="*/ 142 w 300"/>
              <a:gd name="T49" fmla="*/ 88 h 300"/>
              <a:gd name="T50" fmla="*/ 156 w 300"/>
              <a:gd name="T51" fmla="*/ 128 h 300"/>
              <a:gd name="T52" fmla="*/ 142 w 300"/>
              <a:gd name="T53" fmla="*/ 40 h 300"/>
              <a:gd name="T54" fmla="*/ 128 w 300"/>
              <a:gd name="T55" fmla="*/ 0 h 300"/>
              <a:gd name="T56" fmla="*/ 156 w 300"/>
              <a:gd name="T57" fmla="*/ 41 h 300"/>
              <a:gd name="T58" fmla="*/ 40 w 300"/>
              <a:gd name="T59" fmla="*/ 142 h 300"/>
              <a:gd name="T60" fmla="*/ 0 w 300"/>
              <a:gd name="T61" fmla="*/ 157 h 300"/>
              <a:gd name="T62" fmla="*/ 41 w 300"/>
              <a:gd name="T63" fmla="*/ 128 h 300"/>
              <a:gd name="T64" fmla="*/ 142 w 300"/>
              <a:gd name="T65" fmla="*/ 245 h 300"/>
              <a:gd name="T66" fmla="*/ 156 w 300"/>
              <a:gd name="T67" fmla="*/ 285 h 300"/>
              <a:gd name="T68" fmla="*/ 128 w 300"/>
              <a:gd name="T69" fmla="*/ 244 h 300"/>
              <a:gd name="T70" fmla="*/ 245 w 300"/>
              <a:gd name="T71" fmla="*/ 142 h 300"/>
              <a:gd name="T72" fmla="*/ 285 w 300"/>
              <a:gd name="T73" fmla="*/ 128 h 300"/>
              <a:gd name="T74" fmla="*/ 243 w 300"/>
              <a:gd name="T75" fmla="*/ 15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0" h="300">
                <a:moveTo>
                  <a:pt x="298" y="266"/>
                </a:moveTo>
                <a:cubicBezTo>
                  <a:pt x="226" y="193"/>
                  <a:pt x="226" y="193"/>
                  <a:pt x="226" y="193"/>
                </a:cubicBezTo>
                <a:cubicBezTo>
                  <a:pt x="223" y="191"/>
                  <a:pt x="222" y="186"/>
                  <a:pt x="224" y="183"/>
                </a:cubicBezTo>
                <a:cubicBezTo>
                  <a:pt x="228" y="175"/>
                  <a:pt x="231" y="166"/>
                  <a:pt x="233" y="157"/>
                </a:cubicBezTo>
                <a:cubicBezTo>
                  <a:pt x="233" y="152"/>
                  <a:pt x="234" y="147"/>
                  <a:pt x="234" y="142"/>
                </a:cubicBezTo>
                <a:cubicBezTo>
                  <a:pt x="234" y="138"/>
                  <a:pt x="233" y="133"/>
                  <a:pt x="233" y="128"/>
                </a:cubicBezTo>
                <a:cubicBezTo>
                  <a:pt x="227" y="89"/>
                  <a:pt x="196" y="58"/>
                  <a:pt x="156" y="52"/>
                </a:cubicBezTo>
                <a:cubicBezTo>
                  <a:pt x="152" y="51"/>
                  <a:pt x="147" y="51"/>
                  <a:pt x="142" y="51"/>
                </a:cubicBezTo>
                <a:cubicBezTo>
                  <a:pt x="137" y="51"/>
                  <a:pt x="133" y="51"/>
                  <a:pt x="128" y="52"/>
                </a:cubicBezTo>
                <a:cubicBezTo>
                  <a:pt x="89" y="58"/>
                  <a:pt x="58" y="89"/>
                  <a:pt x="52" y="128"/>
                </a:cubicBezTo>
                <a:cubicBezTo>
                  <a:pt x="51" y="133"/>
                  <a:pt x="51" y="138"/>
                  <a:pt x="51" y="142"/>
                </a:cubicBezTo>
                <a:cubicBezTo>
                  <a:pt x="51" y="147"/>
                  <a:pt x="51" y="152"/>
                  <a:pt x="52" y="157"/>
                </a:cubicBezTo>
                <a:cubicBezTo>
                  <a:pt x="58" y="196"/>
                  <a:pt x="89" y="227"/>
                  <a:pt x="128" y="233"/>
                </a:cubicBezTo>
                <a:cubicBezTo>
                  <a:pt x="133" y="234"/>
                  <a:pt x="137" y="234"/>
                  <a:pt x="142" y="234"/>
                </a:cubicBezTo>
                <a:cubicBezTo>
                  <a:pt x="147" y="234"/>
                  <a:pt x="152" y="234"/>
                  <a:pt x="156" y="233"/>
                </a:cubicBezTo>
                <a:cubicBezTo>
                  <a:pt x="166" y="231"/>
                  <a:pt x="175" y="228"/>
                  <a:pt x="183" y="224"/>
                </a:cubicBezTo>
                <a:cubicBezTo>
                  <a:pt x="184" y="224"/>
                  <a:pt x="185" y="223"/>
                  <a:pt x="187" y="223"/>
                </a:cubicBezTo>
                <a:cubicBezTo>
                  <a:pt x="189" y="223"/>
                  <a:pt x="192" y="224"/>
                  <a:pt x="193" y="226"/>
                </a:cubicBezTo>
                <a:cubicBezTo>
                  <a:pt x="265" y="298"/>
                  <a:pt x="265" y="298"/>
                  <a:pt x="265" y="298"/>
                </a:cubicBezTo>
                <a:cubicBezTo>
                  <a:pt x="267" y="299"/>
                  <a:pt x="268" y="300"/>
                  <a:pt x="270" y="300"/>
                </a:cubicBezTo>
                <a:cubicBezTo>
                  <a:pt x="272" y="300"/>
                  <a:pt x="273" y="299"/>
                  <a:pt x="275" y="298"/>
                </a:cubicBezTo>
                <a:cubicBezTo>
                  <a:pt x="298" y="275"/>
                  <a:pt x="298" y="275"/>
                  <a:pt x="298" y="275"/>
                </a:cubicBezTo>
                <a:cubicBezTo>
                  <a:pt x="300" y="272"/>
                  <a:pt x="300" y="268"/>
                  <a:pt x="298" y="266"/>
                </a:cubicBezTo>
                <a:close/>
                <a:moveTo>
                  <a:pt x="206" y="157"/>
                </a:moveTo>
                <a:cubicBezTo>
                  <a:pt x="201" y="181"/>
                  <a:pt x="181" y="201"/>
                  <a:pt x="156" y="206"/>
                </a:cubicBezTo>
                <a:cubicBezTo>
                  <a:pt x="152" y="207"/>
                  <a:pt x="147" y="208"/>
                  <a:pt x="142" y="208"/>
                </a:cubicBezTo>
                <a:cubicBezTo>
                  <a:pt x="137" y="208"/>
                  <a:pt x="133" y="207"/>
                  <a:pt x="128" y="206"/>
                </a:cubicBezTo>
                <a:cubicBezTo>
                  <a:pt x="103" y="201"/>
                  <a:pt x="84" y="181"/>
                  <a:pt x="78" y="157"/>
                </a:cubicBezTo>
                <a:cubicBezTo>
                  <a:pt x="77" y="152"/>
                  <a:pt x="77" y="147"/>
                  <a:pt x="77" y="142"/>
                </a:cubicBezTo>
                <a:cubicBezTo>
                  <a:pt x="77" y="138"/>
                  <a:pt x="77" y="133"/>
                  <a:pt x="78" y="128"/>
                </a:cubicBezTo>
                <a:cubicBezTo>
                  <a:pt x="84" y="103"/>
                  <a:pt x="103" y="84"/>
                  <a:pt x="128" y="79"/>
                </a:cubicBezTo>
                <a:cubicBezTo>
                  <a:pt x="133" y="78"/>
                  <a:pt x="137" y="77"/>
                  <a:pt x="142" y="77"/>
                </a:cubicBezTo>
                <a:cubicBezTo>
                  <a:pt x="147" y="77"/>
                  <a:pt x="152" y="78"/>
                  <a:pt x="156" y="79"/>
                </a:cubicBezTo>
                <a:cubicBezTo>
                  <a:pt x="181" y="84"/>
                  <a:pt x="201" y="103"/>
                  <a:pt x="206" y="128"/>
                </a:cubicBezTo>
                <a:cubicBezTo>
                  <a:pt x="207" y="133"/>
                  <a:pt x="208" y="138"/>
                  <a:pt x="208" y="142"/>
                </a:cubicBezTo>
                <a:cubicBezTo>
                  <a:pt x="208" y="147"/>
                  <a:pt x="207" y="152"/>
                  <a:pt x="206" y="157"/>
                </a:cubicBezTo>
                <a:close/>
                <a:moveTo>
                  <a:pt x="195" y="128"/>
                </a:moveTo>
                <a:cubicBezTo>
                  <a:pt x="196" y="133"/>
                  <a:pt x="197" y="138"/>
                  <a:pt x="197" y="142"/>
                </a:cubicBezTo>
                <a:cubicBezTo>
                  <a:pt x="197" y="147"/>
                  <a:pt x="196" y="152"/>
                  <a:pt x="195" y="157"/>
                </a:cubicBezTo>
                <a:cubicBezTo>
                  <a:pt x="156" y="157"/>
                  <a:pt x="156" y="157"/>
                  <a:pt x="156" y="157"/>
                </a:cubicBezTo>
                <a:cubicBezTo>
                  <a:pt x="156" y="195"/>
                  <a:pt x="156" y="195"/>
                  <a:pt x="156" y="195"/>
                </a:cubicBezTo>
                <a:cubicBezTo>
                  <a:pt x="152" y="197"/>
                  <a:pt x="147" y="197"/>
                  <a:pt x="142" y="197"/>
                </a:cubicBezTo>
                <a:cubicBezTo>
                  <a:pt x="137" y="197"/>
                  <a:pt x="133" y="197"/>
                  <a:pt x="128" y="195"/>
                </a:cubicBezTo>
                <a:cubicBezTo>
                  <a:pt x="128" y="157"/>
                  <a:pt x="128" y="157"/>
                  <a:pt x="128" y="157"/>
                </a:cubicBezTo>
                <a:cubicBezTo>
                  <a:pt x="89" y="157"/>
                  <a:pt x="89" y="157"/>
                  <a:pt x="89" y="157"/>
                </a:cubicBezTo>
                <a:cubicBezTo>
                  <a:pt x="88" y="152"/>
                  <a:pt x="87" y="147"/>
                  <a:pt x="87" y="142"/>
                </a:cubicBezTo>
                <a:cubicBezTo>
                  <a:pt x="87" y="138"/>
                  <a:pt x="88" y="133"/>
                  <a:pt x="89" y="128"/>
                </a:cubicBezTo>
                <a:cubicBezTo>
                  <a:pt x="128" y="128"/>
                  <a:pt x="128" y="128"/>
                  <a:pt x="128" y="128"/>
                </a:cubicBezTo>
                <a:cubicBezTo>
                  <a:pt x="128" y="90"/>
                  <a:pt x="128" y="90"/>
                  <a:pt x="128" y="90"/>
                </a:cubicBezTo>
                <a:cubicBezTo>
                  <a:pt x="133" y="88"/>
                  <a:pt x="137" y="88"/>
                  <a:pt x="142" y="88"/>
                </a:cubicBezTo>
                <a:cubicBezTo>
                  <a:pt x="147" y="88"/>
                  <a:pt x="152" y="88"/>
                  <a:pt x="156" y="90"/>
                </a:cubicBezTo>
                <a:cubicBezTo>
                  <a:pt x="156" y="128"/>
                  <a:pt x="156" y="128"/>
                  <a:pt x="156" y="128"/>
                </a:cubicBezTo>
                <a:lnTo>
                  <a:pt x="195" y="128"/>
                </a:lnTo>
                <a:close/>
                <a:moveTo>
                  <a:pt x="142" y="40"/>
                </a:moveTo>
                <a:cubicBezTo>
                  <a:pt x="137" y="40"/>
                  <a:pt x="133" y="41"/>
                  <a:pt x="128" y="41"/>
                </a:cubicBezTo>
                <a:cubicBezTo>
                  <a:pt x="128" y="0"/>
                  <a:pt x="128" y="0"/>
                  <a:pt x="128" y="0"/>
                </a:cubicBezTo>
                <a:cubicBezTo>
                  <a:pt x="156" y="0"/>
                  <a:pt x="156" y="0"/>
                  <a:pt x="156" y="0"/>
                </a:cubicBezTo>
                <a:cubicBezTo>
                  <a:pt x="156" y="41"/>
                  <a:pt x="156" y="41"/>
                  <a:pt x="156" y="41"/>
                </a:cubicBezTo>
                <a:cubicBezTo>
                  <a:pt x="152" y="41"/>
                  <a:pt x="147" y="40"/>
                  <a:pt x="142" y="40"/>
                </a:cubicBezTo>
                <a:close/>
                <a:moveTo>
                  <a:pt x="40" y="142"/>
                </a:moveTo>
                <a:cubicBezTo>
                  <a:pt x="40" y="147"/>
                  <a:pt x="40" y="152"/>
                  <a:pt x="41" y="157"/>
                </a:cubicBezTo>
                <a:cubicBezTo>
                  <a:pt x="0" y="157"/>
                  <a:pt x="0" y="157"/>
                  <a:pt x="0" y="157"/>
                </a:cubicBezTo>
                <a:cubicBezTo>
                  <a:pt x="0" y="128"/>
                  <a:pt x="0" y="128"/>
                  <a:pt x="0" y="128"/>
                </a:cubicBezTo>
                <a:cubicBezTo>
                  <a:pt x="41" y="128"/>
                  <a:pt x="41" y="128"/>
                  <a:pt x="41" y="128"/>
                </a:cubicBezTo>
                <a:cubicBezTo>
                  <a:pt x="40" y="133"/>
                  <a:pt x="40" y="138"/>
                  <a:pt x="40" y="142"/>
                </a:cubicBezTo>
                <a:close/>
                <a:moveTo>
                  <a:pt x="142" y="245"/>
                </a:moveTo>
                <a:cubicBezTo>
                  <a:pt x="147" y="245"/>
                  <a:pt x="152" y="244"/>
                  <a:pt x="156" y="244"/>
                </a:cubicBezTo>
                <a:cubicBezTo>
                  <a:pt x="156" y="285"/>
                  <a:pt x="156" y="285"/>
                  <a:pt x="156" y="285"/>
                </a:cubicBezTo>
                <a:cubicBezTo>
                  <a:pt x="128" y="285"/>
                  <a:pt x="128" y="285"/>
                  <a:pt x="128" y="285"/>
                </a:cubicBezTo>
                <a:cubicBezTo>
                  <a:pt x="128" y="244"/>
                  <a:pt x="128" y="244"/>
                  <a:pt x="128" y="244"/>
                </a:cubicBezTo>
                <a:cubicBezTo>
                  <a:pt x="133" y="244"/>
                  <a:pt x="137" y="245"/>
                  <a:pt x="142" y="245"/>
                </a:cubicBezTo>
                <a:close/>
                <a:moveTo>
                  <a:pt x="245" y="142"/>
                </a:moveTo>
                <a:cubicBezTo>
                  <a:pt x="245" y="138"/>
                  <a:pt x="244" y="133"/>
                  <a:pt x="243" y="128"/>
                </a:cubicBezTo>
                <a:cubicBezTo>
                  <a:pt x="285" y="128"/>
                  <a:pt x="285" y="128"/>
                  <a:pt x="285" y="128"/>
                </a:cubicBezTo>
                <a:cubicBezTo>
                  <a:pt x="285" y="157"/>
                  <a:pt x="285" y="157"/>
                  <a:pt x="285" y="157"/>
                </a:cubicBezTo>
                <a:cubicBezTo>
                  <a:pt x="243" y="157"/>
                  <a:pt x="243" y="157"/>
                  <a:pt x="243" y="157"/>
                </a:cubicBezTo>
                <a:cubicBezTo>
                  <a:pt x="244" y="152"/>
                  <a:pt x="245" y="147"/>
                  <a:pt x="245" y="142"/>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925505689"/>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Scripting Capabilities</a:t>
            </a:r>
            <a:endParaRPr lang="en-US" dirty="0"/>
          </a:p>
        </p:txBody>
      </p:sp>
      <p:sp>
        <p:nvSpPr>
          <p:cNvPr id="3" name="Content Placeholder 2"/>
          <p:cNvSpPr>
            <a:spLocks noGrp="1"/>
          </p:cNvSpPr>
          <p:nvPr>
            <p:ph type="body" sz="quarter" idx="10"/>
          </p:nvPr>
        </p:nvSpPr>
        <p:spPr>
          <a:xfrm>
            <a:off x="389436" y="1085849"/>
            <a:ext cx="5630364" cy="4279633"/>
          </a:xfrm>
        </p:spPr>
        <p:txBody>
          <a:bodyPr/>
          <a:lstStyle/>
          <a:p>
            <a:r>
              <a:rPr lang="en-US" dirty="0">
                <a:solidFill>
                  <a:schemeClr val="accent2"/>
                </a:solidFill>
              </a:rPr>
              <a:t>Full Support for IaaS at spring launch</a:t>
            </a:r>
          </a:p>
          <a:p>
            <a:pPr marL="342900" indent="-342900">
              <a:buFont typeface="Arial" pitchFamily="34" charset="0"/>
              <a:buChar char="•"/>
            </a:pPr>
            <a:r>
              <a:rPr lang="en-US" sz="2000" dirty="0"/>
              <a:t>Windows Azure PowerShell Cmdlets</a:t>
            </a:r>
          </a:p>
          <a:p>
            <a:pPr marL="342900" indent="-342900">
              <a:buFont typeface="Arial" pitchFamily="34" charset="0"/>
              <a:buChar char="•"/>
            </a:pPr>
            <a:r>
              <a:rPr lang="en-US" sz="2000" dirty="0"/>
              <a:t>Cross Platform Scripting Built on node.js</a:t>
            </a:r>
          </a:p>
          <a:p>
            <a:pPr marL="342900" indent="-342900">
              <a:buFont typeface="Arial" pitchFamily="34" charset="0"/>
              <a:buChar char="•"/>
            </a:pPr>
            <a:endParaRPr lang="en-US" sz="2000" dirty="0"/>
          </a:p>
          <a:p>
            <a:r>
              <a:rPr lang="en-US" dirty="0">
                <a:solidFill>
                  <a:schemeClr val="accent2"/>
                </a:solidFill>
              </a:rPr>
              <a:t>Capabilities</a:t>
            </a:r>
          </a:p>
          <a:p>
            <a:pPr lvl="1"/>
            <a:r>
              <a:rPr lang="en-US" sz="2000" dirty="0"/>
              <a:t>Provisioning, Removal</a:t>
            </a:r>
          </a:p>
          <a:p>
            <a:pPr lvl="1"/>
            <a:r>
              <a:rPr lang="en-US" sz="2000" dirty="0"/>
              <a:t>Reboot, Start</a:t>
            </a:r>
          </a:p>
          <a:p>
            <a:pPr lvl="1"/>
            <a:r>
              <a:rPr lang="en-US" sz="2000" dirty="0"/>
              <a:t>Import and Export VM settings</a:t>
            </a:r>
          </a:p>
          <a:p>
            <a:pPr lvl="1"/>
            <a:r>
              <a:rPr lang="en-US" sz="2000" dirty="0"/>
              <a:t>Support for Windows and Linux VMs</a:t>
            </a:r>
          </a:p>
          <a:p>
            <a:pPr lvl="1"/>
            <a:r>
              <a:rPr lang="en-US" sz="2000" dirty="0"/>
              <a:t>Domain Join at Provision for Windows</a:t>
            </a:r>
          </a:p>
          <a:p>
            <a:pPr lvl="1"/>
            <a:r>
              <a:rPr lang="en-US" sz="2000" dirty="0">
                <a:solidFill>
                  <a:schemeClr val="tx2"/>
                </a:solidFill>
              </a:rPr>
              <a:t>Fully Customize VM with Data Disks and Endpoint Configuration</a:t>
            </a:r>
          </a:p>
          <a:p>
            <a:pPr lvl="1"/>
            <a:r>
              <a:rPr lang="en-US" dirty="0">
                <a:solidFill>
                  <a:schemeClr val="tx2"/>
                </a:solidFill>
              </a:rPr>
              <a:t>Automate Virtual Network Settings</a:t>
            </a:r>
          </a:p>
          <a:p>
            <a:endParaRPr lang="en-US" sz="2000" dirty="0"/>
          </a:p>
          <a:p>
            <a:endParaRPr lang="en-US" sz="2000" dirty="0" smtClean="0"/>
          </a:p>
        </p:txBody>
      </p:sp>
      <p:sp>
        <p:nvSpPr>
          <p:cNvPr id="4" name="Freeform 84"/>
          <p:cNvSpPr>
            <a:spLocks noEditPoints="1"/>
          </p:cNvSpPr>
          <p:nvPr/>
        </p:nvSpPr>
        <p:spPr bwMode="black">
          <a:xfrm>
            <a:off x="6477000" y="1809750"/>
            <a:ext cx="2172038" cy="2596489"/>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tx2"/>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147554446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5" y="0"/>
            <a:ext cx="1162683"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latin typeface="+mj-lt"/>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latin typeface="Segoe UI"/>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4"/>
            <a:ext cx="8363938" cy="1994393"/>
          </a:xfrm>
        </p:spPr>
        <p:txBody>
          <a:bodyPr/>
          <a:lstStyle/>
          <a:p>
            <a:r>
              <a:rPr lang="en-US" sz="3600" dirty="0"/>
              <a:t>A Continuous Offering </a:t>
            </a:r>
            <a:br>
              <a:rPr lang="en-US" sz="3600" dirty="0"/>
            </a:br>
            <a:r>
              <a:rPr lang="en-US" sz="3600" dirty="0"/>
              <a:t>		From Private to </a:t>
            </a:r>
            <a:br>
              <a:rPr lang="en-US" sz="3600" dirty="0"/>
            </a:br>
            <a:r>
              <a:rPr lang="en-US" sz="3600" dirty="0"/>
              <a:t>			Public Cloud</a:t>
            </a:r>
            <a:br>
              <a:rPr lang="en-US" sz="3600" dirty="0"/>
            </a:br>
            <a:endParaRPr lang="en-US" sz="3600" dirty="0"/>
          </a:p>
        </p:txBody>
      </p:sp>
    </p:spTree>
    <p:extLst>
      <p:ext uri="{BB962C8B-B14F-4D97-AF65-F5344CB8AC3E}">
        <p14:creationId xmlns:p14="http://schemas.microsoft.com/office/powerpoint/2010/main" val="2532293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Getting Started with VMs</a:t>
            </a:r>
            <a:endParaRPr lang="en-US" dirty="0"/>
          </a:p>
        </p:txBody>
      </p:sp>
    </p:spTree>
    <p:extLst>
      <p:ext uri="{BB962C8B-B14F-4D97-AF65-F5344CB8AC3E}">
        <p14:creationId xmlns:p14="http://schemas.microsoft.com/office/powerpoint/2010/main" val="1075849892"/>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t>
            </a:r>
            <a:r>
              <a:rPr lang="en-US" sz="5400"/>
              <a:t>and </a:t>
            </a:r>
            <a:br>
              <a:rPr lang="en-US" sz="5400"/>
            </a:br>
            <a:r>
              <a:rPr lang="en-US" sz="5400"/>
              <a:t>Cloud </a:t>
            </a:r>
            <a:r>
              <a:rPr lang="en-US" sz="5400" dirty="0"/>
              <a:t>Services</a:t>
            </a:r>
          </a:p>
        </p:txBody>
      </p:sp>
    </p:spTree>
    <p:extLst>
      <p:ext uri="{BB962C8B-B14F-4D97-AF65-F5344CB8AC3E}">
        <p14:creationId xmlns:p14="http://schemas.microsoft.com/office/powerpoint/2010/main" val="3696261752"/>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 name="Group 19"/>
          <p:cNvGrpSpPr/>
          <p:nvPr/>
        </p:nvGrpSpPr>
        <p:grpSpPr>
          <a:xfrm>
            <a:off x="1953709" y="1335640"/>
            <a:ext cx="6316988" cy="3287731"/>
            <a:chOff x="1953709" y="1335640"/>
            <a:chExt cx="6316988" cy="3287731"/>
          </a:xfrm>
          <a:solidFill>
            <a:schemeClr val="bg2"/>
          </a:solidFill>
        </p:grpSpPr>
        <p:sp>
          <p:nvSpPr>
            <p:cNvPr id="21" name="Rectangle 20"/>
            <p:cNvSpPr/>
            <p:nvPr>
              <p:custDataLst>
                <p:tags r:id="rId12"/>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smtClean="0">
                  <a:ln>
                    <a:solidFill>
                      <a:schemeClr val="bg1">
                        <a:alpha val="0"/>
                      </a:schemeClr>
                    </a:solidFill>
                  </a:ln>
                  <a:solidFill>
                    <a:schemeClr val="tx1">
                      <a:alpha val="99000"/>
                    </a:schemeClr>
                  </a:solidFill>
                  <a:latin typeface="Segoe UI Light" pitchFamily="34" charset="0"/>
                </a:rPr>
                <a:t>Cloud </a:t>
              </a:r>
              <a:r>
                <a:rPr lang="en-US" sz="2400" cap="all" dirty="0">
                  <a:ln>
                    <a:solidFill>
                      <a:schemeClr val="bg1">
                        <a:alpha val="0"/>
                      </a:schemeClr>
                    </a:solidFill>
                  </a:ln>
                  <a:solidFill>
                    <a:schemeClr val="tx1">
                      <a:alpha val="99000"/>
                    </a:schemeClr>
                  </a:solidFill>
                  <a:latin typeface="Segoe UI Light" pitchFamily="34" charset="0"/>
                </a:rPr>
                <a:t>Service</a:t>
              </a:r>
            </a:p>
          </p:txBody>
        </p:sp>
        <p:sp>
          <p:nvSpPr>
            <p:cNvPr id="22" name="Freeform 128"/>
            <p:cNvSpPr>
              <a:spLocks noChangeAspect="1"/>
            </p:cNvSpPr>
            <p:nvPr/>
          </p:nvSpPr>
          <p:spPr bwMode="black">
            <a:xfrm>
              <a:off x="3442510" y="1432570"/>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23" name="Rectangle 22"/>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4275713707"/>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6182"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17147"/>
          </a:xfrm>
        </p:spPr>
        <p:txBody>
          <a:bodyPr/>
          <a:lstStyle/>
          <a:p>
            <a:r>
              <a:rPr lang="en-US" dirty="0" smtClean="0"/>
              <a:t>Cloud Services, Roles and Instances</a:t>
            </a:r>
            <a:br>
              <a:rPr lang="en-US" dirty="0" smtClean="0"/>
            </a:br>
            <a:r>
              <a:rPr lang="en-US" sz="1800" dirty="0">
                <a:solidFill>
                  <a:schemeClr val="tx2">
                    <a:alpha val="99000"/>
                  </a:schemeClr>
                </a:solidFill>
              </a:rPr>
              <a:t>Cloud Service is a management, configuration, security, </a:t>
            </a:r>
            <a:r>
              <a:rPr lang="en-US" sz="1800" dirty="0" smtClean="0">
                <a:solidFill>
                  <a:schemeClr val="tx2">
                    <a:alpha val="99000"/>
                  </a:schemeClr>
                </a:solidFill>
              </a:rPr>
              <a:t>networking </a:t>
            </a:r>
            <a:r>
              <a:rPr lang="en-US" sz="1800" dirty="0">
                <a:solidFill>
                  <a:schemeClr val="tx2">
                    <a:alpha val="99000"/>
                  </a:schemeClr>
                </a:solidFill>
              </a:rPr>
              <a:t>and service model boundary</a:t>
            </a:r>
          </a:p>
        </p:txBody>
      </p:sp>
      <p:grpSp>
        <p:nvGrpSpPr>
          <p:cNvPr id="3" name="Group 2"/>
          <p:cNvGrpSpPr/>
          <p:nvPr/>
        </p:nvGrpSpPr>
        <p:grpSpPr>
          <a:xfrm>
            <a:off x="3023923" y="1798938"/>
            <a:ext cx="3911069" cy="2706311"/>
            <a:chOff x="2723308" y="1905153"/>
            <a:chExt cx="4350420" cy="3010325"/>
          </a:xfrm>
        </p:grpSpPr>
        <p:sp>
          <p:nvSpPr>
            <p:cNvPr id="12" name="Rectangle 11"/>
            <p:cNvSpPr/>
            <p:nvPr>
              <p:custDataLst>
                <p:tags r:id="rId4"/>
              </p:custDataLst>
            </p:nvPr>
          </p:nvSpPr>
          <p:spPr bwMode="auto">
            <a:xfrm>
              <a:off x="2725830" y="3433188"/>
              <a:ext cx="4347898" cy="148229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400" cap="all" dirty="0" smtClean="0">
                  <a:ln>
                    <a:solidFill>
                      <a:schemeClr val="bg1">
                        <a:alpha val="0"/>
                      </a:schemeClr>
                    </a:solidFill>
                  </a:ln>
                  <a:gradFill>
                    <a:gsLst>
                      <a:gs pos="0">
                        <a:srgbClr val="FFFFFF"/>
                      </a:gs>
                      <a:gs pos="100000">
                        <a:srgbClr val="FFFFFF"/>
                      </a:gs>
                    </a:gsLst>
                    <a:lin ang="5400000" scaled="0"/>
                  </a:gradFill>
                </a:rPr>
                <a:t>Worker Role</a:t>
              </a:r>
              <a:endParaRPr lang="en-US" sz="1400" cap="all" dirty="0">
                <a:ln>
                  <a:solidFill>
                    <a:schemeClr val="bg1">
                      <a:alpha val="0"/>
                    </a:schemeClr>
                  </a:solidFill>
                </a:ln>
                <a:gradFill>
                  <a:gsLst>
                    <a:gs pos="0">
                      <a:srgbClr val="FFFFFF"/>
                    </a:gs>
                    <a:gs pos="100000">
                      <a:srgbClr val="FFFFFF"/>
                    </a:gs>
                  </a:gsLst>
                  <a:lin ang="5400000" scaled="0"/>
                </a:gradFill>
              </a:endParaRPr>
            </a:p>
          </p:txBody>
        </p:sp>
        <p:sp>
          <p:nvSpPr>
            <p:cNvPr id="6" name="Rectangle 5"/>
            <p:cNvSpPr/>
            <p:nvPr>
              <p:custDataLst>
                <p:tags r:id="rId5"/>
              </p:custDataLst>
            </p:nvPr>
          </p:nvSpPr>
          <p:spPr bwMode="auto">
            <a:xfrm>
              <a:off x="2723308" y="1905153"/>
              <a:ext cx="4347898" cy="14504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1400" cap="all" dirty="0" smtClean="0">
                  <a:ln>
                    <a:solidFill>
                      <a:schemeClr val="bg1">
                        <a:alpha val="0"/>
                      </a:schemeClr>
                    </a:solidFill>
                  </a:ln>
                  <a:gradFill>
                    <a:gsLst>
                      <a:gs pos="0">
                        <a:srgbClr val="FFFFFF"/>
                      </a:gs>
                      <a:gs pos="100000">
                        <a:srgbClr val="FFFFFF"/>
                      </a:gs>
                    </a:gsLst>
                    <a:lin ang="5400000" scaled="0"/>
                  </a:gradFill>
                </a:rPr>
                <a:t>Web Role</a:t>
              </a:r>
              <a:endParaRPr lang="en-US" sz="1400" cap="all" dirty="0">
                <a:ln>
                  <a:solidFill>
                    <a:schemeClr val="bg1">
                      <a:alpha val="0"/>
                    </a:schemeClr>
                  </a:solidFill>
                </a:ln>
                <a:gradFill>
                  <a:gsLst>
                    <a:gs pos="0">
                      <a:srgbClr val="FFFFFF"/>
                    </a:gs>
                    <a:gs pos="100000">
                      <a:srgbClr val="FFFFFF"/>
                    </a:gs>
                  </a:gsLst>
                  <a:lin ang="5400000" scaled="0"/>
                </a:gradFill>
              </a:endParaRPr>
            </a:p>
          </p:txBody>
        </p:sp>
        <p:sp>
          <p:nvSpPr>
            <p:cNvPr id="18" name="Rectangle 17"/>
            <p:cNvSpPr/>
            <p:nvPr>
              <p:custDataLst>
                <p:tags r:id="rId6"/>
              </p:custDataLst>
            </p:nvPr>
          </p:nvSpPr>
          <p:spPr bwMode="auto">
            <a:xfrm>
              <a:off x="2861089" y="219450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1</a:t>
              </a:r>
            </a:p>
          </p:txBody>
        </p:sp>
        <p:sp>
          <p:nvSpPr>
            <p:cNvPr id="25" name="Rectangle 24"/>
            <p:cNvSpPr/>
            <p:nvPr>
              <p:custDataLst>
                <p:tags r:id="rId7"/>
              </p:custDataLst>
            </p:nvPr>
          </p:nvSpPr>
          <p:spPr bwMode="auto">
            <a:xfrm>
              <a:off x="4257955" y="219450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2</a:t>
              </a:r>
            </a:p>
          </p:txBody>
        </p:sp>
        <p:sp>
          <p:nvSpPr>
            <p:cNvPr id="28" name="Rectangle 27"/>
            <p:cNvSpPr/>
            <p:nvPr>
              <p:custDataLst>
                <p:tags r:id="rId8"/>
              </p:custDataLst>
            </p:nvPr>
          </p:nvSpPr>
          <p:spPr bwMode="auto">
            <a:xfrm>
              <a:off x="5663700" y="2194506"/>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3</a:t>
              </a:r>
            </a:p>
          </p:txBody>
        </p:sp>
        <p:sp>
          <p:nvSpPr>
            <p:cNvPr id="29" name="Rectangle 28"/>
            <p:cNvSpPr/>
            <p:nvPr>
              <p:custDataLst>
                <p:tags r:id="rId9"/>
              </p:custDataLst>
            </p:nvPr>
          </p:nvSpPr>
          <p:spPr bwMode="auto">
            <a:xfrm>
              <a:off x="2861088" y="3734678"/>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4</a:t>
              </a:r>
            </a:p>
          </p:txBody>
        </p:sp>
        <p:sp>
          <p:nvSpPr>
            <p:cNvPr id="30" name="Rectangle 29"/>
            <p:cNvSpPr/>
            <p:nvPr>
              <p:custDataLst>
                <p:tags r:id="rId10"/>
              </p:custDataLst>
            </p:nvPr>
          </p:nvSpPr>
          <p:spPr bwMode="auto">
            <a:xfrm>
              <a:off x="4257954" y="3734678"/>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5</a:t>
              </a:r>
            </a:p>
          </p:txBody>
        </p:sp>
        <p:sp>
          <p:nvSpPr>
            <p:cNvPr id="31" name="Rectangle 30"/>
            <p:cNvSpPr/>
            <p:nvPr>
              <p:custDataLst>
                <p:tags r:id="rId11"/>
              </p:custDataLst>
            </p:nvPr>
          </p:nvSpPr>
          <p:spPr bwMode="auto">
            <a:xfrm>
              <a:off x="5663699" y="3734677"/>
              <a:ext cx="1298709" cy="108411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400" dirty="0">
                  <a:ln>
                    <a:solidFill>
                      <a:schemeClr val="bg1">
                        <a:alpha val="0"/>
                      </a:schemeClr>
                    </a:solidFill>
                  </a:ln>
                  <a:solidFill>
                    <a:srgbClr val="595959">
                      <a:alpha val="99000"/>
                    </a:srgbClr>
                  </a:solidFill>
                </a:rPr>
                <a:t>VM</a:t>
              </a:r>
              <a:r>
                <a:rPr lang="en-US" sz="1400" baseline="-25000" dirty="0">
                  <a:ln>
                    <a:solidFill>
                      <a:schemeClr val="bg1">
                        <a:alpha val="0"/>
                      </a:schemeClr>
                    </a:solidFill>
                  </a:ln>
                  <a:solidFill>
                    <a:srgbClr val="595959">
                      <a:alpha val="99000"/>
                    </a:srgbClr>
                  </a:solidFill>
                </a:rPr>
                <a:t>…</a:t>
              </a:r>
            </a:p>
          </p:txBody>
        </p:sp>
      </p:grpSp>
      <p:cxnSp>
        <p:nvCxnSpPr>
          <p:cNvPr id="14" name="Straight Connector 13"/>
          <p:cNvCxnSpPr/>
          <p:nvPr/>
        </p:nvCxnSpPr>
        <p:spPr>
          <a:xfrm>
            <a:off x="6585735" y="2893244"/>
            <a:ext cx="1130157" cy="30838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5196005" y="2802850"/>
            <a:ext cx="2519887" cy="39878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089115" y="2899914"/>
            <a:ext cx="3626777" cy="301716"/>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rot="16200000">
            <a:off x="7427040" y="3090831"/>
            <a:ext cx="1107804" cy="221599"/>
          </a:xfrm>
          <a:prstGeom prst="rect">
            <a:avLst/>
          </a:prstGeom>
          <a:noFill/>
        </p:spPr>
        <p:txBody>
          <a:bodyPr wrap="none" lIns="0" tIns="0" rIns="0" bIns="0" rtlCol="0">
            <a:spAutoFit/>
          </a:bodyPr>
          <a:lstStyle/>
          <a:p>
            <a:pPr>
              <a:lnSpc>
                <a:spcPct val="90000"/>
              </a:lnSpc>
              <a:spcBef>
                <a:spcPct val="20000"/>
              </a:spcBef>
              <a:buSzPct val="80000"/>
            </a:pPr>
            <a:r>
              <a:rPr lang="en-US" sz="1600" b="1" dirty="0" smtClean="0">
                <a:solidFill>
                  <a:schemeClr val="tx2">
                    <a:alpha val="99000"/>
                  </a:schemeClr>
                </a:solidFill>
              </a:rPr>
              <a:t>INSTANCES</a:t>
            </a:r>
            <a:endParaRPr lang="en-US" sz="1600" b="1" dirty="0">
              <a:solidFill>
                <a:schemeClr val="tx2">
                  <a:alpha val="99000"/>
                </a:schemeClr>
              </a:solidFill>
            </a:endParaRPr>
          </a:p>
        </p:txBody>
      </p:sp>
      <p:cxnSp>
        <p:nvCxnSpPr>
          <p:cNvPr id="24" name="Straight Connector 23"/>
          <p:cNvCxnSpPr/>
          <p:nvPr/>
        </p:nvCxnSpPr>
        <p:spPr>
          <a:xfrm flipV="1">
            <a:off x="2379867" y="2450930"/>
            <a:ext cx="623508" cy="664830"/>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rot="16200000">
            <a:off x="1881969" y="3090831"/>
            <a:ext cx="616772" cy="221599"/>
          </a:xfrm>
          <a:prstGeom prst="rect">
            <a:avLst/>
          </a:prstGeom>
          <a:noFill/>
        </p:spPr>
        <p:txBody>
          <a:bodyPr wrap="none" lIns="0" tIns="0" rIns="0" bIns="0" rtlCol="0">
            <a:spAutoFit/>
          </a:bodyPr>
          <a:lstStyle/>
          <a:p>
            <a:pPr>
              <a:lnSpc>
                <a:spcPct val="90000"/>
              </a:lnSpc>
              <a:spcBef>
                <a:spcPct val="20000"/>
              </a:spcBef>
              <a:buSzPct val="80000"/>
            </a:pPr>
            <a:r>
              <a:rPr lang="en-US" sz="1600" b="1" dirty="0" smtClean="0">
                <a:solidFill>
                  <a:schemeClr val="tx2">
                    <a:alpha val="99000"/>
                  </a:schemeClr>
                </a:solidFill>
              </a:rPr>
              <a:t>ROLES</a:t>
            </a:r>
            <a:endParaRPr lang="en-US" sz="1600" b="1" dirty="0">
              <a:solidFill>
                <a:schemeClr val="tx2">
                  <a:alpha val="99000"/>
                </a:schemeClr>
              </a:solidFill>
            </a:endParaRPr>
          </a:p>
        </p:txBody>
      </p:sp>
      <p:cxnSp>
        <p:nvCxnSpPr>
          <p:cNvPr id="27" name="Straight Connector 26"/>
          <p:cNvCxnSpPr/>
          <p:nvPr/>
        </p:nvCxnSpPr>
        <p:spPr>
          <a:xfrm>
            <a:off x="2379867" y="3115760"/>
            <a:ext cx="623508" cy="815251"/>
          </a:xfrm>
          <a:prstGeom prst="line">
            <a:avLst/>
          </a:prstGeom>
          <a:ln w="38100" cap="rnd">
            <a:solidFill>
              <a:schemeClr val="tx2"/>
            </a:solidFill>
          </a:ln>
        </p:spPr>
        <p:style>
          <a:lnRef idx="1">
            <a:schemeClr val="accent1"/>
          </a:lnRef>
          <a:fillRef idx="0">
            <a:schemeClr val="accent1"/>
          </a:fillRef>
          <a:effectRef idx="0">
            <a:schemeClr val="accent1"/>
          </a:effectRef>
          <a:fontRef idx="minor">
            <a:schemeClr val="tx1"/>
          </a:fontRef>
        </p:style>
      </p:cxnSp>
      <p:sp>
        <p:nvSpPr>
          <p:cNvPr id="32" name="Freeform 139"/>
          <p:cNvSpPr>
            <a:spLocks noEditPoints="1"/>
          </p:cNvSpPr>
          <p:nvPr/>
        </p:nvSpPr>
        <p:spPr bwMode="black">
          <a:xfrm>
            <a:off x="607497" y="1748001"/>
            <a:ext cx="1088057" cy="739552"/>
          </a:xfrm>
          <a:custGeom>
            <a:avLst/>
            <a:gdLst>
              <a:gd name="T0" fmla="*/ 1232 w 3162"/>
              <a:gd name="T1" fmla="*/ 548 h 2150"/>
              <a:gd name="T2" fmla="*/ 1114 w 3162"/>
              <a:gd name="T3" fmla="*/ 859 h 2150"/>
              <a:gd name="T4" fmla="*/ 746 w 3162"/>
              <a:gd name="T5" fmla="*/ 895 h 2150"/>
              <a:gd name="T6" fmla="*/ 549 w 3162"/>
              <a:gd name="T7" fmla="*/ 925 h 2150"/>
              <a:gd name="T8" fmla="*/ 862 w 3162"/>
              <a:gd name="T9" fmla="*/ 348 h 2150"/>
              <a:gd name="T10" fmla="*/ 1240 w 3162"/>
              <a:gd name="T11" fmla="*/ 502 h 2150"/>
              <a:gd name="T12" fmla="*/ 725 w 3162"/>
              <a:gd name="T13" fmla="*/ 1177 h 2150"/>
              <a:gd name="T14" fmla="*/ 560 w 3162"/>
              <a:gd name="T15" fmla="*/ 929 h 2150"/>
              <a:gd name="T16" fmla="*/ 592 w 3162"/>
              <a:gd name="T17" fmla="*/ 942 h 2150"/>
              <a:gd name="T18" fmla="*/ 779 w 3162"/>
              <a:gd name="T19" fmla="*/ 1124 h 2150"/>
              <a:gd name="T20" fmla="*/ 1229 w 3162"/>
              <a:gd name="T21" fmla="*/ 555 h 2150"/>
              <a:gd name="T22" fmla="*/ 2213 w 3162"/>
              <a:gd name="T23" fmla="*/ 1670 h 2150"/>
              <a:gd name="T24" fmla="*/ 2168 w 3162"/>
              <a:gd name="T25" fmla="*/ 1483 h 2150"/>
              <a:gd name="T26" fmla="*/ 2454 w 3162"/>
              <a:gd name="T27" fmla="*/ 1382 h 2150"/>
              <a:gd name="T28" fmla="*/ 2658 w 3162"/>
              <a:gd name="T29" fmla="*/ 1554 h 2150"/>
              <a:gd name="T30" fmla="*/ 2367 w 3162"/>
              <a:gd name="T31" fmla="*/ 1746 h 2150"/>
              <a:gd name="T32" fmla="*/ 2609 w 3162"/>
              <a:gd name="T33" fmla="*/ 1544 h 2150"/>
              <a:gd name="T34" fmla="*/ 2301 w 3162"/>
              <a:gd name="T35" fmla="*/ 1388 h 2150"/>
              <a:gd name="T36" fmla="*/ 2293 w 3162"/>
              <a:gd name="T37" fmla="*/ 1645 h 2150"/>
              <a:gd name="T38" fmla="*/ 2456 w 3162"/>
              <a:gd name="T39" fmla="*/ 1656 h 2150"/>
              <a:gd name="T40" fmla="*/ 2490 w 3162"/>
              <a:gd name="T41" fmla="*/ 1720 h 2150"/>
              <a:gd name="T42" fmla="*/ 2538 w 3162"/>
              <a:gd name="T43" fmla="*/ 1520 h 2150"/>
              <a:gd name="T44" fmla="*/ 2229 w 3162"/>
              <a:gd name="T45" fmla="*/ 1507 h 2150"/>
              <a:gd name="T46" fmla="*/ 2175 w 3162"/>
              <a:gd name="T47" fmla="*/ 1470 h 2150"/>
              <a:gd name="T48" fmla="*/ 3161 w 3162"/>
              <a:gd name="T49" fmla="*/ 1198 h 2150"/>
              <a:gd name="T50" fmla="*/ 2691 w 3162"/>
              <a:gd name="T51" fmla="*/ 1251 h 2150"/>
              <a:gd name="T52" fmla="*/ 2744 w 3162"/>
              <a:gd name="T53" fmla="*/ 1098 h 2150"/>
              <a:gd name="T54" fmla="*/ 2784 w 3162"/>
              <a:gd name="T55" fmla="*/ 1091 h 2150"/>
              <a:gd name="T56" fmla="*/ 2784 w 3162"/>
              <a:gd name="T57" fmla="*/ 1091 h 2150"/>
              <a:gd name="T58" fmla="*/ 2677 w 3162"/>
              <a:gd name="T59" fmla="*/ 1503 h 2150"/>
              <a:gd name="T60" fmla="*/ 3081 w 3162"/>
              <a:gd name="T61" fmla="*/ 1322 h 2150"/>
              <a:gd name="T62" fmla="*/ 779 w 3162"/>
              <a:gd name="T63" fmla="*/ 1123 h 2150"/>
              <a:gd name="T64" fmla="*/ 600 w 3162"/>
              <a:gd name="T65" fmla="*/ 1445 h 2150"/>
              <a:gd name="T66" fmla="*/ 594 w 3162"/>
              <a:gd name="T67" fmla="*/ 1563 h 2150"/>
              <a:gd name="T68" fmla="*/ 779 w 3162"/>
              <a:gd name="T69" fmla="*/ 1123 h 2150"/>
              <a:gd name="T70" fmla="*/ 394 w 3162"/>
              <a:gd name="T71" fmla="*/ 1456 h 2150"/>
              <a:gd name="T72" fmla="*/ 394 w 3162"/>
              <a:gd name="T73" fmla="*/ 1456 h 2150"/>
              <a:gd name="T74" fmla="*/ 730 w 3162"/>
              <a:gd name="T75" fmla="*/ 1147 h 2150"/>
              <a:gd name="T76" fmla="*/ 730 w 3162"/>
              <a:gd name="T77" fmla="*/ 1147 h 2150"/>
              <a:gd name="T78" fmla="*/ 2090 w 3162"/>
              <a:gd name="T79" fmla="*/ 1387 h 2150"/>
              <a:gd name="T80" fmla="*/ 1909 w 3162"/>
              <a:gd name="T81" fmla="*/ 1116 h 2150"/>
              <a:gd name="T82" fmla="*/ 1360 w 3162"/>
              <a:gd name="T83" fmla="*/ 1038 h 2150"/>
              <a:gd name="T84" fmla="*/ 1643 w 3162"/>
              <a:gd name="T85" fmla="*/ 608 h 2150"/>
              <a:gd name="T86" fmla="*/ 1700 w 3162"/>
              <a:gd name="T87" fmla="*/ 181 h 2150"/>
              <a:gd name="T88" fmla="*/ 2216 w 3162"/>
              <a:gd name="T89" fmla="*/ 631 h 2150"/>
              <a:gd name="T90" fmla="*/ 2245 w 3162"/>
              <a:gd name="T91" fmla="*/ 712 h 2150"/>
              <a:gd name="T92" fmla="*/ 2066 w 3162"/>
              <a:gd name="T93" fmla="*/ 1368 h 2150"/>
              <a:gd name="T94" fmla="*/ 1437 w 3162"/>
              <a:gd name="T95" fmla="*/ 1081 h 2150"/>
              <a:gd name="T96" fmla="*/ 1925 w 3162"/>
              <a:gd name="T97" fmla="*/ 1306 h 2150"/>
              <a:gd name="T98" fmla="*/ 1949 w 3162"/>
              <a:gd name="T99" fmla="*/ 1312 h 2150"/>
              <a:gd name="T100" fmla="*/ 1733 w 3162"/>
              <a:gd name="T101" fmla="*/ 1818 h 2150"/>
              <a:gd name="T102" fmla="*/ 1651 w 3162"/>
              <a:gd name="T103" fmla="*/ 1364 h 2150"/>
              <a:gd name="T104" fmla="*/ 1962 w 3162"/>
              <a:gd name="T105" fmla="*/ 1484 h 2150"/>
              <a:gd name="T106" fmla="*/ 1934 w 3162"/>
              <a:gd name="T107" fmla="*/ 1843 h 2150"/>
              <a:gd name="T108" fmla="*/ 2150 w 3162"/>
              <a:gd name="T109" fmla="*/ 1690 h 2150"/>
              <a:gd name="T110" fmla="*/ 1978 w 3162"/>
              <a:gd name="T111" fmla="*/ 1496 h 2150"/>
              <a:gd name="T112" fmla="*/ 893 w 3162"/>
              <a:gd name="T113" fmla="*/ 1047 h 2150"/>
              <a:gd name="T114" fmla="*/ 1229 w 3162"/>
              <a:gd name="T115" fmla="*/ 1432 h 2150"/>
              <a:gd name="T116" fmla="*/ 1097 w 3162"/>
              <a:gd name="T117" fmla="*/ 1406 h 2150"/>
              <a:gd name="T118" fmla="*/ 693 w 3162"/>
              <a:gd name="T119" fmla="*/ 1380 h 2150"/>
              <a:gd name="T120" fmla="*/ 785 w 3162"/>
              <a:gd name="T121" fmla="*/ 1842 h 2150"/>
              <a:gd name="T122" fmla="*/ 1229 w 3162"/>
              <a:gd name="T123" fmla="*/ 1990 h 2150"/>
              <a:gd name="T124" fmla="*/ 1520 w 3162"/>
              <a:gd name="T125" fmla="*/ 1266 h 2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162" h="2150">
                <a:moveTo>
                  <a:pt x="762" y="1139"/>
                </a:moveTo>
                <a:cubicBezTo>
                  <a:pt x="766" y="1135"/>
                  <a:pt x="770" y="1131"/>
                  <a:pt x="775" y="1127"/>
                </a:cubicBezTo>
                <a:cubicBezTo>
                  <a:pt x="774" y="1127"/>
                  <a:pt x="774" y="1127"/>
                  <a:pt x="774" y="1128"/>
                </a:cubicBezTo>
                <a:cubicBezTo>
                  <a:pt x="770" y="1131"/>
                  <a:pt x="766" y="1135"/>
                  <a:pt x="762" y="1139"/>
                </a:cubicBezTo>
                <a:close/>
                <a:moveTo>
                  <a:pt x="1275" y="447"/>
                </a:moveTo>
                <a:cubicBezTo>
                  <a:pt x="1258" y="479"/>
                  <a:pt x="1243" y="513"/>
                  <a:pt x="1232" y="548"/>
                </a:cubicBezTo>
                <a:cubicBezTo>
                  <a:pt x="1232" y="548"/>
                  <a:pt x="1232" y="548"/>
                  <a:pt x="1232" y="548"/>
                </a:cubicBezTo>
                <a:cubicBezTo>
                  <a:pt x="1108" y="636"/>
                  <a:pt x="1108" y="636"/>
                  <a:pt x="1108" y="636"/>
                </a:cubicBezTo>
                <a:cubicBezTo>
                  <a:pt x="1145" y="696"/>
                  <a:pt x="1150" y="767"/>
                  <a:pt x="1127" y="830"/>
                </a:cubicBezTo>
                <a:cubicBezTo>
                  <a:pt x="1196" y="861"/>
                  <a:pt x="1196" y="861"/>
                  <a:pt x="1196" y="861"/>
                </a:cubicBezTo>
                <a:cubicBezTo>
                  <a:pt x="1197" y="873"/>
                  <a:pt x="1199" y="886"/>
                  <a:pt x="1201" y="899"/>
                </a:cubicBezTo>
                <a:cubicBezTo>
                  <a:pt x="1114" y="859"/>
                  <a:pt x="1114" y="859"/>
                  <a:pt x="1114" y="859"/>
                </a:cubicBezTo>
                <a:cubicBezTo>
                  <a:pt x="1098" y="888"/>
                  <a:pt x="1076" y="914"/>
                  <a:pt x="1048" y="934"/>
                </a:cubicBezTo>
                <a:cubicBezTo>
                  <a:pt x="1019" y="954"/>
                  <a:pt x="988" y="967"/>
                  <a:pt x="956" y="972"/>
                </a:cubicBezTo>
                <a:cubicBezTo>
                  <a:pt x="960" y="1019"/>
                  <a:pt x="960" y="1019"/>
                  <a:pt x="960" y="1019"/>
                </a:cubicBezTo>
                <a:cubicBezTo>
                  <a:pt x="950" y="1022"/>
                  <a:pt x="939" y="1026"/>
                  <a:pt x="929" y="1031"/>
                </a:cubicBezTo>
                <a:cubicBezTo>
                  <a:pt x="923" y="975"/>
                  <a:pt x="923" y="975"/>
                  <a:pt x="923" y="975"/>
                </a:cubicBezTo>
                <a:cubicBezTo>
                  <a:pt x="857" y="977"/>
                  <a:pt x="791" y="949"/>
                  <a:pt x="746" y="895"/>
                </a:cubicBezTo>
                <a:cubicBezTo>
                  <a:pt x="642" y="969"/>
                  <a:pt x="642" y="969"/>
                  <a:pt x="642" y="969"/>
                </a:cubicBezTo>
                <a:cubicBezTo>
                  <a:pt x="632" y="963"/>
                  <a:pt x="622" y="957"/>
                  <a:pt x="612" y="951"/>
                </a:cubicBezTo>
                <a:cubicBezTo>
                  <a:pt x="727" y="869"/>
                  <a:pt x="727" y="869"/>
                  <a:pt x="727" y="869"/>
                </a:cubicBezTo>
                <a:cubicBezTo>
                  <a:pt x="690" y="809"/>
                  <a:pt x="685" y="737"/>
                  <a:pt x="708" y="675"/>
                </a:cubicBezTo>
                <a:cubicBezTo>
                  <a:pt x="540" y="598"/>
                  <a:pt x="540" y="598"/>
                  <a:pt x="540" y="598"/>
                </a:cubicBezTo>
                <a:cubicBezTo>
                  <a:pt x="498" y="702"/>
                  <a:pt x="499" y="821"/>
                  <a:pt x="549" y="925"/>
                </a:cubicBezTo>
                <a:cubicBezTo>
                  <a:pt x="524" y="918"/>
                  <a:pt x="500" y="913"/>
                  <a:pt x="476" y="910"/>
                </a:cubicBezTo>
                <a:cubicBezTo>
                  <a:pt x="454" y="849"/>
                  <a:pt x="444" y="782"/>
                  <a:pt x="450" y="713"/>
                </a:cubicBezTo>
                <a:cubicBezTo>
                  <a:pt x="471" y="455"/>
                  <a:pt x="698" y="263"/>
                  <a:pt x="957" y="284"/>
                </a:cubicBezTo>
                <a:cubicBezTo>
                  <a:pt x="1085" y="295"/>
                  <a:pt x="1197" y="356"/>
                  <a:pt x="1275" y="447"/>
                </a:cubicBezTo>
                <a:close/>
                <a:moveTo>
                  <a:pt x="880" y="532"/>
                </a:moveTo>
                <a:cubicBezTo>
                  <a:pt x="862" y="348"/>
                  <a:pt x="862" y="348"/>
                  <a:pt x="862" y="348"/>
                </a:cubicBezTo>
                <a:cubicBezTo>
                  <a:pt x="799" y="356"/>
                  <a:pt x="736" y="380"/>
                  <a:pt x="681" y="420"/>
                </a:cubicBezTo>
                <a:cubicBezTo>
                  <a:pt x="625" y="460"/>
                  <a:pt x="582" y="511"/>
                  <a:pt x="553" y="569"/>
                </a:cubicBezTo>
                <a:cubicBezTo>
                  <a:pt x="722" y="645"/>
                  <a:pt x="722" y="645"/>
                  <a:pt x="722" y="645"/>
                </a:cubicBezTo>
                <a:cubicBezTo>
                  <a:pt x="737" y="617"/>
                  <a:pt x="760" y="591"/>
                  <a:pt x="788" y="570"/>
                </a:cubicBezTo>
                <a:cubicBezTo>
                  <a:pt x="816" y="550"/>
                  <a:pt x="848" y="537"/>
                  <a:pt x="880" y="532"/>
                </a:cubicBezTo>
                <a:close/>
                <a:moveTo>
                  <a:pt x="1240" y="502"/>
                </a:moveTo>
                <a:cubicBezTo>
                  <a:pt x="1155" y="392"/>
                  <a:pt x="1025" y="338"/>
                  <a:pt x="895" y="345"/>
                </a:cubicBezTo>
                <a:cubicBezTo>
                  <a:pt x="912" y="529"/>
                  <a:pt x="912" y="529"/>
                  <a:pt x="912" y="529"/>
                </a:cubicBezTo>
                <a:cubicBezTo>
                  <a:pt x="979" y="527"/>
                  <a:pt x="1045" y="555"/>
                  <a:pt x="1090" y="610"/>
                </a:cubicBezTo>
                <a:lnTo>
                  <a:pt x="1240" y="502"/>
                </a:lnTo>
                <a:close/>
                <a:moveTo>
                  <a:pt x="741" y="1160"/>
                </a:moveTo>
                <a:cubicBezTo>
                  <a:pt x="735" y="1166"/>
                  <a:pt x="730" y="1172"/>
                  <a:pt x="725" y="1177"/>
                </a:cubicBezTo>
                <a:cubicBezTo>
                  <a:pt x="730" y="1172"/>
                  <a:pt x="735" y="1166"/>
                  <a:pt x="741" y="1160"/>
                </a:cubicBezTo>
                <a:close/>
                <a:moveTo>
                  <a:pt x="742" y="1158"/>
                </a:moveTo>
                <a:cubicBezTo>
                  <a:pt x="747" y="1153"/>
                  <a:pt x="752" y="1148"/>
                  <a:pt x="757" y="1143"/>
                </a:cubicBezTo>
                <a:cubicBezTo>
                  <a:pt x="752" y="1148"/>
                  <a:pt x="747" y="1153"/>
                  <a:pt x="742" y="1158"/>
                </a:cubicBezTo>
                <a:close/>
                <a:moveTo>
                  <a:pt x="549" y="926"/>
                </a:moveTo>
                <a:cubicBezTo>
                  <a:pt x="553" y="927"/>
                  <a:pt x="557" y="928"/>
                  <a:pt x="560" y="929"/>
                </a:cubicBezTo>
                <a:cubicBezTo>
                  <a:pt x="557" y="928"/>
                  <a:pt x="553" y="927"/>
                  <a:pt x="549" y="925"/>
                </a:cubicBezTo>
                <a:cubicBezTo>
                  <a:pt x="549" y="925"/>
                  <a:pt x="549" y="925"/>
                  <a:pt x="549" y="926"/>
                </a:cubicBezTo>
                <a:close/>
                <a:moveTo>
                  <a:pt x="592" y="942"/>
                </a:moveTo>
                <a:cubicBezTo>
                  <a:pt x="599" y="945"/>
                  <a:pt x="605" y="948"/>
                  <a:pt x="611" y="951"/>
                </a:cubicBezTo>
                <a:cubicBezTo>
                  <a:pt x="612" y="951"/>
                  <a:pt x="612" y="951"/>
                  <a:pt x="612" y="951"/>
                </a:cubicBezTo>
                <a:cubicBezTo>
                  <a:pt x="605" y="948"/>
                  <a:pt x="599" y="945"/>
                  <a:pt x="592" y="942"/>
                </a:cubicBezTo>
                <a:close/>
                <a:moveTo>
                  <a:pt x="642" y="969"/>
                </a:moveTo>
                <a:cubicBezTo>
                  <a:pt x="644" y="970"/>
                  <a:pt x="646" y="972"/>
                  <a:pt x="648" y="973"/>
                </a:cubicBezTo>
                <a:cubicBezTo>
                  <a:pt x="646" y="971"/>
                  <a:pt x="644" y="970"/>
                  <a:pt x="642" y="969"/>
                </a:cubicBezTo>
                <a:close/>
                <a:moveTo>
                  <a:pt x="775" y="1127"/>
                </a:moveTo>
                <a:cubicBezTo>
                  <a:pt x="777" y="1125"/>
                  <a:pt x="779" y="1124"/>
                  <a:pt x="781" y="1122"/>
                </a:cubicBezTo>
                <a:cubicBezTo>
                  <a:pt x="780" y="1122"/>
                  <a:pt x="779" y="1123"/>
                  <a:pt x="779" y="1124"/>
                </a:cubicBezTo>
                <a:cubicBezTo>
                  <a:pt x="777" y="1125"/>
                  <a:pt x="776" y="1126"/>
                  <a:pt x="775" y="1127"/>
                </a:cubicBezTo>
                <a:close/>
                <a:moveTo>
                  <a:pt x="960" y="1019"/>
                </a:moveTo>
                <a:cubicBezTo>
                  <a:pt x="967" y="1016"/>
                  <a:pt x="974" y="1014"/>
                  <a:pt x="982" y="1012"/>
                </a:cubicBezTo>
                <a:cubicBezTo>
                  <a:pt x="974" y="1014"/>
                  <a:pt x="967" y="1016"/>
                  <a:pt x="960" y="1019"/>
                </a:cubicBezTo>
                <a:close/>
                <a:moveTo>
                  <a:pt x="1220" y="583"/>
                </a:moveTo>
                <a:cubicBezTo>
                  <a:pt x="1223" y="574"/>
                  <a:pt x="1226" y="564"/>
                  <a:pt x="1229" y="555"/>
                </a:cubicBezTo>
                <a:cubicBezTo>
                  <a:pt x="1226" y="564"/>
                  <a:pt x="1223" y="574"/>
                  <a:pt x="1220" y="583"/>
                </a:cubicBezTo>
                <a:close/>
                <a:moveTo>
                  <a:pt x="2658" y="1554"/>
                </a:moveTo>
                <a:cubicBezTo>
                  <a:pt x="2648" y="1634"/>
                  <a:pt x="2604" y="1709"/>
                  <a:pt x="2530" y="1755"/>
                </a:cubicBezTo>
                <a:cubicBezTo>
                  <a:pt x="2425" y="1820"/>
                  <a:pt x="2294" y="1807"/>
                  <a:pt x="2205" y="1732"/>
                </a:cubicBezTo>
                <a:cubicBezTo>
                  <a:pt x="2209" y="1711"/>
                  <a:pt x="2212" y="1689"/>
                  <a:pt x="2213" y="1667"/>
                </a:cubicBezTo>
                <a:cubicBezTo>
                  <a:pt x="2213" y="1668"/>
                  <a:pt x="2213" y="1669"/>
                  <a:pt x="2213" y="1670"/>
                </a:cubicBezTo>
                <a:cubicBezTo>
                  <a:pt x="2224" y="1682"/>
                  <a:pt x="2236" y="1694"/>
                  <a:pt x="2249" y="1703"/>
                </a:cubicBezTo>
                <a:cubicBezTo>
                  <a:pt x="2290" y="1643"/>
                  <a:pt x="2290" y="1643"/>
                  <a:pt x="2290" y="1643"/>
                </a:cubicBezTo>
                <a:cubicBezTo>
                  <a:pt x="2252" y="1614"/>
                  <a:pt x="2227" y="1568"/>
                  <a:pt x="2228" y="1517"/>
                </a:cubicBezTo>
                <a:cubicBezTo>
                  <a:pt x="2183" y="1514"/>
                  <a:pt x="2183" y="1514"/>
                  <a:pt x="2183" y="1514"/>
                </a:cubicBezTo>
                <a:cubicBezTo>
                  <a:pt x="2184" y="1516"/>
                  <a:pt x="2185" y="1518"/>
                  <a:pt x="2186" y="1520"/>
                </a:cubicBezTo>
                <a:cubicBezTo>
                  <a:pt x="2181" y="1507"/>
                  <a:pt x="2175" y="1495"/>
                  <a:pt x="2168" y="1483"/>
                </a:cubicBezTo>
                <a:cubicBezTo>
                  <a:pt x="2171" y="1488"/>
                  <a:pt x="2173" y="1492"/>
                  <a:pt x="2175" y="1497"/>
                </a:cubicBezTo>
                <a:cubicBezTo>
                  <a:pt x="2230" y="1501"/>
                  <a:pt x="2230" y="1501"/>
                  <a:pt x="2230" y="1501"/>
                </a:cubicBezTo>
                <a:cubicBezTo>
                  <a:pt x="2233" y="1477"/>
                  <a:pt x="2241" y="1455"/>
                  <a:pt x="2253" y="1436"/>
                </a:cubicBezTo>
                <a:cubicBezTo>
                  <a:pt x="2293" y="1416"/>
                  <a:pt x="2330" y="1393"/>
                  <a:pt x="2365" y="1366"/>
                </a:cubicBezTo>
                <a:cubicBezTo>
                  <a:pt x="2374" y="1365"/>
                  <a:pt x="2384" y="1365"/>
                  <a:pt x="2394" y="1365"/>
                </a:cubicBezTo>
                <a:cubicBezTo>
                  <a:pt x="2416" y="1367"/>
                  <a:pt x="2436" y="1373"/>
                  <a:pt x="2454" y="1382"/>
                </a:cubicBezTo>
                <a:cubicBezTo>
                  <a:pt x="2454" y="1382"/>
                  <a:pt x="2453" y="1381"/>
                  <a:pt x="2453" y="1380"/>
                </a:cubicBezTo>
                <a:cubicBezTo>
                  <a:pt x="2473" y="1418"/>
                  <a:pt x="2500" y="1451"/>
                  <a:pt x="2532" y="1480"/>
                </a:cubicBezTo>
                <a:cubicBezTo>
                  <a:pt x="2536" y="1493"/>
                  <a:pt x="2538" y="1508"/>
                  <a:pt x="2538" y="1523"/>
                </a:cubicBezTo>
                <a:cubicBezTo>
                  <a:pt x="2599" y="1527"/>
                  <a:pt x="2599" y="1527"/>
                  <a:pt x="2599" y="1527"/>
                </a:cubicBezTo>
                <a:cubicBezTo>
                  <a:pt x="2599" y="1527"/>
                  <a:pt x="2599" y="1527"/>
                  <a:pt x="2599" y="1527"/>
                </a:cubicBezTo>
                <a:cubicBezTo>
                  <a:pt x="2618" y="1538"/>
                  <a:pt x="2638" y="1547"/>
                  <a:pt x="2658" y="1554"/>
                </a:cubicBezTo>
                <a:close/>
                <a:moveTo>
                  <a:pt x="2475" y="1727"/>
                </a:moveTo>
                <a:cubicBezTo>
                  <a:pt x="2443" y="1662"/>
                  <a:pt x="2443" y="1662"/>
                  <a:pt x="2443" y="1662"/>
                </a:cubicBezTo>
                <a:cubicBezTo>
                  <a:pt x="2422" y="1671"/>
                  <a:pt x="2397" y="1676"/>
                  <a:pt x="2372" y="1674"/>
                </a:cubicBezTo>
                <a:cubicBezTo>
                  <a:pt x="2347" y="1672"/>
                  <a:pt x="2323" y="1664"/>
                  <a:pt x="2303" y="1652"/>
                </a:cubicBezTo>
                <a:cubicBezTo>
                  <a:pt x="2262" y="1712"/>
                  <a:pt x="2262" y="1712"/>
                  <a:pt x="2262" y="1712"/>
                </a:cubicBezTo>
                <a:cubicBezTo>
                  <a:pt x="2293" y="1732"/>
                  <a:pt x="2328" y="1744"/>
                  <a:pt x="2367" y="1746"/>
                </a:cubicBezTo>
                <a:cubicBezTo>
                  <a:pt x="2405" y="1749"/>
                  <a:pt x="2442" y="1742"/>
                  <a:pt x="2475" y="1727"/>
                </a:cubicBezTo>
                <a:close/>
                <a:moveTo>
                  <a:pt x="2609" y="1544"/>
                </a:moveTo>
                <a:cubicBezTo>
                  <a:pt x="2536" y="1539"/>
                  <a:pt x="2536" y="1539"/>
                  <a:pt x="2536" y="1539"/>
                </a:cubicBezTo>
                <a:cubicBezTo>
                  <a:pt x="2530" y="1589"/>
                  <a:pt x="2500" y="1632"/>
                  <a:pt x="2458" y="1655"/>
                </a:cubicBezTo>
                <a:cubicBezTo>
                  <a:pt x="2490" y="1720"/>
                  <a:pt x="2490" y="1720"/>
                  <a:pt x="2490" y="1720"/>
                </a:cubicBezTo>
                <a:cubicBezTo>
                  <a:pt x="2554" y="1686"/>
                  <a:pt x="2601" y="1621"/>
                  <a:pt x="2609" y="1544"/>
                </a:cubicBezTo>
                <a:close/>
                <a:moveTo>
                  <a:pt x="2278" y="1319"/>
                </a:moveTo>
                <a:cubicBezTo>
                  <a:pt x="2278" y="1319"/>
                  <a:pt x="2278" y="1319"/>
                  <a:pt x="2278" y="1319"/>
                </a:cubicBezTo>
                <a:moveTo>
                  <a:pt x="2268" y="1324"/>
                </a:moveTo>
                <a:cubicBezTo>
                  <a:pt x="2268" y="1324"/>
                  <a:pt x="2268" y="1324"/>
                  <a:pt x="2268" y="1324"/>
                </a:cubicBezTo>
                <a:moveTo>
                  <a:pt x="2301" y="1388"/>
                </a:moveTo>
                <a:cubicBezTo>
                  <a:pt x="2301" y="1388"/>
                  <a:pt x="2301" y="1388"/>
                  <a:pt x="2301" y="1388"/>
                </a:cubicBezTo>
                <a:moveTo>
                  <a:pt x="2312" y="1382"/>
                </a:moveTo>
                <a:cubicBezTo>
                  <a:pt x="2312" y="1382"/>
                  <a:pt x="2312" y="1382"/>
                  <a:pt x="2312" y="1382"/>
                </a:cubicBezTo>
                <a:moveTo>
                  <a:pt x="2303" y="1652"/>
                </a:moveTo>
                <a:cubicBezTo>
                  <a:pt x="2303" y="1652"/>
                  <a:pt x="2303" y="1652"/>
                  <a:pt x="2303" y="1652"/>
                </a:cubicBezTo>
                <a:moveTo>
                  <a:pt x="2293" y="1645"/>
                </a:moveTo>
                <a:cubicBezTo>
                  <a:pt x="2293" y="1645"/>
                  <a:pt x="2293" y="1645"/>
                  <a:pt x="2293" y="1645"/>
                </a:cubicBezTo>
                <a:moveTo>
                  <a:pt x="2256" y="1707"/>
                </a:moveTo>
                <a:cubicBezTo>
                  <a:pt x="2256" y="1707"/>
                  <a:pt x="2256" y="1707"/>
                  <a:pt x="2256" y="1707"/>
                </a:cubicBezTo>
                <a:moveTo>
                  <a:pt x="2266" y="1713"/>
                </a:moveTo>
                <a:cubicBezTo>
                  <a:pt x="2266" y="1713"/>
                  <a:pt x="2266" y="1713"/>
                  <a:pt x="2266" y="1713"/>
                </a:cubicBezTo>
                <a:moveTo>
                  <a:pt x="2456" y="1656"/>
                </a:moveTo>
                <a:cubicBezTo>
                  <a:pt x="2456" y="1656"/>
                  <a:pt x="2456" y="1656"/>
                  <a:pt x="2456" y="1656"/>
                </a:cubicBezTo>
                <a:moveTo>
                  <a:pt x="2446" y="1661"/>
                </a:moveTo>
                <a:cubicBezTo>
                  <a:pt x="2446" y="1661"/>
                  <a:pt x="2446" y="1661"/>
                  <a:pt x="2446" y="1661"/>
                </a:cubicBezTo>
                <a:moveTo>
                  <a:pt x="2479" y="1725"/>
                </a:moveTo>
                <a:cubicBezTo>
                  <a:pt x="2479" y="1725"/>
                  <a:pt x="2479" y="1725"/>
                  <a:pt x="2479" y="1725"/>
                </a:cubicBezTo>
                <a:moveTo>
                  <a:pt x="2490" y="1720"/>
                </a:moveTo>
                <a:cubicBezTo>
                  <a:pt x="2490" y="1720"/>
                  <a:pt x="2490" y="1720"/>
                  <a:pt x="2490" y="1720"/>
                </a:cubicBezTo>
                <a:moveTo>
                  <a:pt x="2610" y="1536"/>
                </a:moveTo>
                <a:cubicBezTo>
                  <a:pt x="2610" y="1536"/>
                  <a:pt x="2610" y="1536"/>
                  <a:pt x="2610" y="1536"/>
                </a:cubicBezTo>
                <a:moveTo>
                  <a:pt x="2610" y="1524"/>
                </a:moveTo>
                <a:cubicBezTo>
                  <a:pt x="2610" y="1524"/>
                  <a:pt x="2610" y="1524"/>
                  <a:pt x="2610" y="1524"/>
                </a:cubicBezTo>
                <a:moveTo>
                  <a:pt x="2538" y="1520"/>
                </a:moveTo>
                <a:cubicBezTo>
                  <a:pt x="2538" y="1520"/>
                  <a:pt x="2538" y="1520"/>
                  <a:pt x="2538" y="1520"/>
                </a:cubicBezTo>
                <a:moveTo>
                  <a:pt x="2538" y="1532"/>
                </a:moveTo>
                <a:cubicBezTo>
                  <a:pt x="2538" y="1532"/>
                  <a:pt x="2538" y="1532"/>
                  <a:pt x="2538" y="1532"/>
                </a:cubicBezTo>
                <a:moveTo>
                  <a:pt x="2229" y="1519"/>
                </a:moveTo>
                <a:cubicBezTo>
                  <a:pt x="2229" y="1519"/>
                  <a:pt x="2229" y="1519"/>
                  <a:pt x="2229" y="1519"/>
                </a:cubicBezTo>
                <a:moveTo>
                  <a:pt x="2229" y="1507"/>
                </a:moveTo>
                <a:cubicBezTo>
                  <a:pt x="2229" y="1507"/>
                  <a:pt x="2229" y="1507"/>
                  <a:pt x="2229" y="1507"/>
                </a:cubicBezTo>
                <a:moveTo>
                  <a:pt x="2158" y="1503"/>
                </a:moveTo>
                <a:cubicBezTo>
                  <a:pt x="2158" y="1503"/>
                  <a:pt x="2158" y="1503"/>
                  <a:pt x="2158" y="1503"/>
                </a:cubicBezTo>
                <a:moveTo>
                  <a:pt x="2157" y="1515"/>
                </a:moveTo>
                <a:cubicBezTo>
                  <a:pt x="2157" y="1515"/>
                  <a:pt x="2157" y="1515"/>
                  <a:pt x="2157" y="1515"/>
                </a:cubicBezTo>
                <a:moveTo>
                  <a:pt x="2198" y="1462"/>
                </a:moveTo>
                <a:cubicBezTo>
                  <a:pt x="2190" y="1465"/>
                  <a:pt x="2182" y="1468"/>
                  <a:pt x="2175" y="1470"/>
                </a:cubicBezTo>
                <a:cubicBezTo>
                  <a:pt x="2182" y="1468"/>
                  <a:pt x="2190" y="1465"/>
                  <a:pt x="2198" y="1462"/>
                </a:cubicBezTo>
                <a:close/>
                <a:moveTo>
                  <a:pt x="2424" y="1315"/>
                </a:moveTo>
                <a:cubicBezTo>
                  <a:pt x="2425" y="1314"/>
                  <a:pt x="2426" y="1313"/>
                  <a:pt x="2427" y="1312"/>
                </a:cubicBezTo>
                <a:cubicBezTo>
                  <a:pt x="2425" y="1315"/>
                  <a:pt x="2423" y="1317"/>
                  <a:pt x="2421" y="1319"/>
                </a:cubicBezTo>
                <a:cubicBezTo>
                  <a:pt x="2422" y="1318"/>
                  <a:pt x="2423" y="1317"/>
                  <a:pt x="2424" y="1315"/>
                </a:cubicBezTo>
                <a:close/>
                <a:moveTo>
                  <a:pt x="3161" y="1198"/>
                </a:moveTo>
                <a:cubicBezTo>
                  <a:pt x="3161" y="1407"/>
                  <a:pt x="2991" y="1576"/>
                  <a:pt x="2782" y="1575"/>
                </a:cubicBezTo>
                <a:cubicBezTo>
                  <a:pt x="2615" y="1575"/>
                  <a:pt x="2474" y="1466"/>
                  <a:pt x="2424" y="1315"/>
                </a:cubicBezTo>
                <a:cubicBezTo>
                  <a:pt x="2440" y="1300"/>
                  <a:pt x="2456" y="1284"/>
                  <a:pt x="2470" y="1267"/>
                </a:cubicBezTo>
                <a:cubicBezTo>
                  <a:pt x="2470" y="1268"/>
                  <a:pt x="2469" y="1269"/>
                  <a:pt x="2469" y="1270"/>
                </a:cubicBezTo>
                <a:cubicBezTo>
                  <a:pt x="2479" y="1314"/>
                  <a:pt x="2499" y="1356"/>
                  <a:pt x="2526" y="1393"/>
                </a:cubicBezTo>
                <a:cubicBezTo>
                  <a:pt x="2691" y="1251"/>
                  <a:pt x="2691" y="1251"/>
                  <a:pt x="2691" y="1251"/>
                </a:cubicBezTo>
                <a:cubicBezTo>
                  <a:pt x="2679" y="1230"/>
                  <a:pt x="2674" y="1206"/>
                  <a:pt x="2678" y="1182"/>
                </a:cubicBezTo>
                <a:cubicBezTo>
                  <a:pt x="2560" y="1141"/>
                  <a:pt x="2560" y="1141"/>
                  <a:pt x="2560" y="1141"/>
                </a:cubicBezTo>
                <a:cubicBezTo>
                  <a:pt x="2567" y="1128"/>
                  <a:pt x="2574" y="1115"/>
                  <a:pt x="2580" y="1102"/>
                </a:cubicBezTo>
                <a:cubicBezTo>
                  <a:pt x="2580" y="1103"/>
                  <a:pt x="2579" y="1104"/>
                  <a:pt x="2579" y="1105"/>
                </a:cubicBezTo>
                <a:cubicBezTo>
                  <a:pt x="2691" y="1144"/>
                  <a:pt x="2691" y="1144"/>
                  <a:pt x="2691" y="1144"/>
                </a:cubicBezTo>
                <a:cubicBezTo>
                  <a:pt x="2703" y="1123"/>
                  <a:pt x="2722" y="1107"/>
                  <a:pt x="2744" y="1098"/>
                </a:cubicBezTo>
                <a:cubicBezTo>
                  <a:pt x="2703" y="884"/>
                  <a:pt x="2703" y="884"/>
                  <a:pt x="2703" y="884"/>
                </a:cubicBezTo>
                <a:cubicBezTo>
                  <a:pt x="2682" y="890"/>
                  <a:pt x="2662" y="897"/>
                  <a:pt x="2642" y="907"/>
                </a:cubicBezTo>
                <a:cubicBezTo>
                  <a:pt x="2646" y="886"/>
                  <a:pt x="2649" y="865"/>
                  <a:pt x="2650" y="844"/>
                </a:cubicBezTo>
                <a:cubicBezTo>
                  <a:pt x="2692" y="828"/>
                  <a:pt x="2737" y="819"/>
                  <a:pt x="2784" y="819"/>
                </a:cubicBezTo>
                <a:cubicBezTo>
                  <a:pt x="2993" y="820"/>
                  <a:pt x="3162" y="989"/>
                  <a:pt x="3161" y="1198"/>
                </a:cubicBezTo>
                <a:close/>
                <a:moveTo>
                  <a:pt x="2784" y="1091"/>
                </a:moveTo>
                <a:cubicBezTo>
                  <a:pt x="2795" y="1091"/>
                  <a:pt x="2807" y="1092"/>
                  <a:pt x="2818" y="1096"/>
                </a:cubicBezTo>
                <a:cubicBezTo>
                  <a:pt x="2830" y="1100"/>
                  <a:pt x="2840" y="1106"/>
                  <a:pt x="2850" y="1114"/>
                </a:cubicBezTo>
                <a:cubicBezTo>
                  <a:pt x="3014" y="971"/>
                  <a:pt x="3014" y="971"/>
                  <a:pt x="3014" y="971"/>
                </a:cubicBezTo>
                <a:cubicBezTo>
                  <a:pt x="2980" y="937"/>
                  <a:pt x="2938" y="909"/>
                  <a:pt x="2889" y="892"/>
                </a:cubicBezTo>
                <a:cubicBezTo>
                  <a:pt x="2841" y="875"/>
                  <a:pt x="2791" y="871"/>
                  <a:pt x="2743" y="877"/>
                </a:cubicBezTo>
                <a:lnTo>
                  <a:pt x="2784" y="1091"/>
                </a:lnTo>
                <a:close/>
                <a:moveTo>
                  <a:pt x="2824" y="1518"/>
                </a:moveTo>
                <a:cubicBezTo>
                  <a:pt x="2783" y="1304"/>
                  <a:pt x="2783" y="1304"/>
                  <a:pt x="2783" y="1304"/>
                </a:cubicBezTo>
                <a:cubicBezTo>
                  <a:pt x="2772" y="1304"/>
                  <a:pt x="2760" y="1302"/>
                  <a:pt x="2748" y="1298"/>
                </a:cubicBezTo>
                <a:cubicBezTo>
                  <a:pt x="2737" y="1294"/>
                  <a:pt x="2726" y="1288"/>
                  <a:pt x="2717" y="1281"/>
                </a:cubicBezTo>
                <a:cubicBezTo>
                  <a:pt x="2553" y="1423"/>
                  <a:pt x="2553" y="1423"/>
                  <a:pt x="2553" y="1423"/>
                </a:cubicBezTo>
                <a:cubicBezTo>
                  <a:pt x="2586" y="1458"/>
                  <a:pt x="2629" y="1486"/>
                  <a:pt x="2677" y="1503"/>
                </a:cubicBezTo>
                <a:cubicBezTo>
                  <a:pt x="2726" y="1519"/>
                  <a:pt x="2776" y="1524"/>
                  <a:pt x="2824" y="1518"/>
                </a:cubicBezTo>
                <a:close/>
                <a:moveTo>
                  <a:pt x="3081" y="1322"/>
                </a:moveTo>
                <a:cubicBezTo>
                  <a:pt x="2876" y="1251"/>
                  <a:pt x="2876" y="1251"/>
                  <a:pt x="2876" y="1251"/>
                </a:cubicBezTo>
                <a:cubicBezTo>
                  <a:pt x="2864" y="1272"/>
                  <a:pt x="2845" y="1288"/>
                  <a:pt x="2823" y="1296"/>
                </a:cubicBezTo>
                <a:cubicBezTo>
                  <a:pt x="2864" y="1510"/>
                  <a:pt x="2864" y="1510"/>
                  <a:pt x="2864" y="1510"/>
                </a:cubicBezTo>
                <a:cubicBezTo>
                  <a:pt x="2959" y="1486"/>
                  <a:pt x="3041" y="1418"/>
                  <a:pt x="3081" y="1322"/>
                </a:cubicBezTo>
                <a:close/>
                <a:moveTo>
                  <a:pt x="3095" y="1284"/>
                </a:moveTo>
                <a:cubicBezTo>
                  <a:pt x="3123" y="1184"/>
                  <a:pt x="3100" y="1080"/>
                  <a:pt x="3041" y="1002"/>
                </a:cubicBezTo>
                <a:cubicBezTo>
                  <a:pt x="2876" y="1144"/>
                  <a:pt x="2876" y="1144"/>
                  <a:pt x="2876" y="1144"/>
                </a:cubicBezTo>
                <a:cubicBezTo>
                  <a:pt x="2888" y="1164"/>
                  <a:pt x="2892" y="1188"/>
                  <a:pt x="2889" y="1213"/>
                </a:cubicBezTo>
                <a:lnTo>
                  <a:pt x="3095" y="1284"/>
                </a:lnTo>
                <a:close/>
                <a:moveTo>
                  <a:pt x="779" y="1123"/>
                </a:moveTo>
                <a:cubicBezTo>
                  <a:pt x="753" y="1146"/>
                  <a:pt x="729" y="1171"/>
                  <a:pt x="708" y="1198"/>
                </a:cubicBezTo>
                <a:cubicBezTo>
                  <a:pt x="597" y="1245"/>
                  <a:pt x="597" y="1245"/>
                  <a:pt x="597" y="1245"/>
                </a:cubicBezTo>
                <a:cubicBezTo>
                  <a:pt x="610" y="1288"/>
                  <a:pt x="605" y="1337"/>
                  <a:pt x="580" y="1378"/>
                </a:cubicBezTo>
                <a:cubicBezTo>
                  <a:pt x="609" y="1400"/>
                  <a:pt x="609" y="1400"/>
                  <a:pt x="609" y="1400"/>
                </a:cubicBezTo>
                <a:cubicBezTo>
                  <a:pt x="610" y="1399"/>
                  <a:pt x="610" y="1398"/>
                  <a:pt x="611" y="1396"/>
                </a:cubicBezTo>
                <a:cubicBezTo>
                  <a:pt x="606" y="1412"/>
                  <a:pt x="603" y="1429"/>
                  <a:pt x="600" y="1445"/>
                </a:cubicBezTo>
                <a:cubicBezTo>
                  <a:pt x="600" y="1444"/>
                  <a:pt x="601" y="1443"/>
                  <a:pt x="601" y="1442"/>
                </a:cubicBezTo>
                <a:cubicBezTo>
                  <a:pt x="557" y="1409"/>
                  <a:pt x="557" y="1409"/>
                  <a:pt x="557" y="1409"/>
                </a:cubicBezTo>
                <a:cubicBezTo>
                  <a:pt x="523" y="1444"/>
                  <a:pt x="478" y="1461"/>
                  <a:pt x="433" y="1461"/>
                </a:cubicBezTo>
                <a:cubicBezTo>
                  <a:pt x="413" y="1620"/>
                  <a:pt x="413" y="1620"/>
                  <a:pt x="413" y="1620"/>
                </a:cubicBezTo>
                <a:cubicBezTo>
                  <a:pt x="476" y="1625"/>
                  <a:pt x="539" y="1611"/>
                  <a:pt x="595" y="1579"/>
                </a:cubicBezTo>
                <a:cubicBezTo>
                  <a:pt x="595" y="1574"/>
                  <a:pt x="594" y="1569"/>
                  <a:pt x="594" y="1563"/>
                </a:cubicBezTo>
                <a:cubicBezTo>
                  <a:pt x="594" y="1565"/>
                  <a:pt x="594" y="1566"/>
                  <a:pt x="594" y="1567"/>
                </a:cubicBezTo>
                <a:cubicBezTo>
                  <a:pt x="596" y="1590"/>
                  <a:pt x="599" y="1613"/>
                  <a:pt x="603" y="1636"/>
                </a:cubicBezTo>
                <a:cubicBezTo>
                  <a:pt x="511" y="1682"/>
                  <a:pt x="401" y="1690"/>
                  <a:pt x="297" y="1650"/>
                </a:cubicBezTo>
                <a:cubicBezTo>
                  <a:pt x="99" y="1574"/>
                  <a:pt x="0" y="1352"/>
                  <a:pt x="76" y="1154"/>
                </a:cubicBezTo>
                <a:cubicBezTo>
                  <a:pt x="152" y="956"/>
                  <a:pt x="374" y="858"/>
                  <a:pt x="572" y="934"/>
                </a:cubicBezTo>
                <a:cubicBezTo>
                  <a:pt x="666" y="970"/>
                  <a:pt x="738" y="1039"/>
                  <a:pt x="779" y="1123"/>
                </a:cubicBezTo>
                <a:close/>
                <a:moveTo>
                  <a:pt x="124" y="1401"/>
                </a:moveTo>
                <a:cubicBezTo>
                  <a:pt x="272" y="1339"/>
                  <a:pt x="272" y="1339"/>
                  <a:pt x="272" y="1339"/>
                </a:cubicBezTo>
                <a:cubicBezTo>
                  <a:pt x="260" y="1295"/>
                  <a:pt x="265" y="1247"/>
                  <a:pt x="289" y="1206"/>
                </a:cubicBezTo>
                <a:cubicBezTo>
                  <a:pt x="161" y="1109"/>
                  <a:pt x="161" y="1109"/>
                  <a:pt x="161" y="1109"/>
                </a:cubicBezTo>
                <a:cubicBezTo>
                  <a:pt x="101" y="1197"/>
                  <a:pt x="91" y="1306"/>
                  <a:pt x="124" y="1401"/>
                </a:cubicBezTo>
                <a:close/>
                <a:moveTo>
                  <a:pt x="394" y="1456"/>
                </a:moveTo>
                <a:cubicBezTo>
                  <a:pt x="372" y="1451"/>
                  <a:pt x="351" y="1441"/>
                  <a:pt x="332" y="1427"/>
                </a:cubicBezTo>
                <a:cubicBezTo>
                  <a:pt x="313" y="1412"/>
                  <a:pt x="298" y="1394"/>
                  <a:pt x="287" y="1375"/>
                </a:cubicBezTo>
                <a:cubicBezTo>
                  <a:pt x="139" y="1437"/>
                  <a:pt x="139" y="1437"/>
                  <a:pt x="139" y="1437"/>
                </a:cubicBezTo>
                <a:cubicBezTo>
                  <a:pt x="161" y="1482"/>
                  <a:pt x="193" y="1522"/>
                  <a:pt x="235" y="1554"/>
                </a:cubicBezTo>
                <a:cubicBezTo>
                  <a:pt x="278" y="1586"/>
                  <a:pt x="325" y="1607"/>
                  <a:pt x="374" y="1616"/>
                </a:cubicBezTo>
                <a:lnTo>
                  <a:pt x="394" y="1456"/>
                </a:lnTo>
                <a:close/>
                <a:moveTo>
                  <a:pt x="457" y="963"/>
                </a:moveTo>
                <a:cubicBezTo>
                  <a:pt x="356" y="957"/>
                  <a:pt x="254" y="996"/>
                  <a:pt x="184" y="1078"/>
                </a:cubicBezTo>
                <a:cubicBezTo>
                  <a:pt x="312" y="1175"/>
                  <a:pt x="312" y="1175"/>
                  <a:pt x="312" y="1175"/>
                </a:cubicBezTo>
                <a:cubicBezTo>
                  <a:pt x="346" y="1140"/>
                  <a:pt x="391" y="1122"/>
                  <a:pt x="436" y="1123"/>
                </a:cubicBezTo>
                <a:lnTo>
                  <a:pt x="457" y="963"/>
                </a:lnTo>
                <a:close/>
                <a:moveTo>
                  <a:pt x="730" y="1147"/>
                </a:moveTo>
                <a:cubicBezTo>
                  <a:pt x="708" y="1102"/>
                  <a:pt x="676" y="1062"/>
                  <a:pt x="634" y="1030"/>
                </a:cubicBezTo>
                <a:cubicBezTo>
                  <a:pt x="591" y="997"/>
                  <a:pt x="544" y="977"/>
                  <a:pt x="495" y="968"/>
                </a:cubicBezTo>
                <a:cubicBezTo>
                  <a:pt x="475" y="1128"/>
                  <a:pt x="475" y="1128"/>
                  <a:pt x="475" y="1128"/>
                </a:cubicBezTo>
                <a:cubicBezTo>
                  <a:pt x="497" y="1133"/>
                  <a:pt x="518" y="1143"/>
                  <a:pt x="537" y="1157"/>
                </a:cubicBezTo>
                <a:cubicBezTo>
                  <a:pt x="556" y="1172"/>
                  <a:pt x="571" y="1189"/>
                  <a:pt x="582" y="1209"/>
                </a:cubicBezTo>
                <a:lnTo>
                  <a:pt x="730" y="1147"/>
                </a:lnTo>
                <a:close/>
                <a:moveTo>
                  <a:pt x="594" y="1552"/>
                </a:moveTo>
                <a:cubicBezTo>
                  <a:pt x="594" y="1552"/>
                  <a:pt x="594" y="1553"/>
                  <a:pt x="594" y="1553"/>
                </a:cubicBezTo>
                <a:cubicBezTo>
                  <a:pt x="594" y="1554"/>
                  <a:pt x="594" y="1554"/>
                  <a:pt x="594" y="1555"/>
                </a:cubicBezTo>
                <a:cubicBezTo>
                  <a:pt x="594" y="1554"/>
                  <a:pt x="594" y="1553"/>
                  <a:pt x="594" y="1552"/>
                </a:cubicBezTo>
                <a:close/>
                <a:moveTo>
                  <a:pt x="2163" y="1475"/>
                </a:moveTo>
                <a:cubicBezTo>
                  <a:pt x="2143" y="1441"/>
                  <a:pt x="2118" y="1412"/>
                  <a:pt x="2090" y="1387"/>
                </a:cubicBezTo>
                <a:cubicBezTo>
                  <a:pt x="2095" y="1392"/>
                  <a:pt x="2101" y="1397"/>
                  <a:pt x="2106" y="1402"/>
                </a:cubicBezTo>
                <a:cubicBezTo>
                  <a:pt x="2119" y="1398"/>
                  <a:pt x="2132" y="1394"/>
                  <a:pt x="2145" y="1389"/>
                </a:cubicBezTo>
                <a:cubicBezTo>
                  <a:pt x="2241" y="1354"/>
                  <a:pt x="2323" y="1298"/>
                  <a:pt x="2389" y="1228"/>
                </a:cubicBezTo>
                <a:cubicBezTo>
                  <a:pt x="2148" y="1028"/>
                  <a:pt x="2148" y="1028"/>
                  <a:pt x="2148" y="1028"/>
                </a:cubicBezTo>
                <a:cubicBezTo>
                  <a:pt x="2116" y="1057"/>
                  <a:pt x="2079" y="1080"/>
                  <a:pt x="2037" y="1096"/>
                </a:cubicBezTo>
                <a:cubicBezTo>
                  <a:pt x="1995" y="1111"/>
                  <a:pt x="1951" y="1118"/>
                  <a:pt x="1909" y="1116"/>
                </a:cubicBezTo>
                <a:cubicBezTo>
                  <a:pt x="1877" y="1300"/>
                  <a:pt x="1877" y="1300"/>
                  <a:pt x="1877" y="1300"/>
                </a:cubicBezTo>
                <a:cubicBezTo>
                  <a:pt x="1848" y="1298"/>
                  <a:pt x="1819" y="1300"/>
                  <a:pt x="1790" y="1305"/>
                </a:cubicBezTo>
                <a:cubicBezTo>
                  <a:pt x="1825" y="1102"/>
                  <a:pt x="1825" y="1102"/>
                  <a:pt x="1825" y="1102"/>
                </a:cubicBezTo>
                <a:cubicBezTo>
                  <a:pt x="1742" y="1076"/>
                  <a:pt x="1671" y="1019"/>
                  <a:pt x="1629" y="939"/>
                </a:cubicBezTo>
                <a:cubicBezTo>
                  <a:pt x="1360" y="1038"/>
                  <a:pt x="1360" y="1038"/>
                  <a:pt x="1360" y="1038"/>
                </a:cubicBezTo>
                <a:cubicBezTo>
                  <a:pt x="1360" y="1038"/>
                  <a:pt x="1360" y="1038"/>
                  <a:pt x="1360" y="1038"/>
                </a:cubicBezTo>
                <a:cubicBezTo>
                  <a:pt x="1316" y="1019"/>
                  <a:pt x="1270" y="1005"/>
                  <a:pt x="1223" y="997"/>
                </a:cubicBezTo>
                <a:cubicBezTo>
                  <a:pt x="1214" y="966"/>
                  <a:pt x="1207" y="933"/>
                  <a:pt x="1201" y="900"/>
                </a:cubicBezTo>
                <a:cubicBezTo>
                  <a:pt x="1138" y="502"/>
                  <a:pt x="1409" y="128"/>
                  <a:pt x="1807" y="64"/>
                </a:cubicBezTo>
                <a:cubicBezTo>
                  <a:pt x="2205" y="0"/>
                  <a:pt x="2580" y="272"/>
                  <a:pt x="2643" y="670"/>
                </a:cubicBezTo>
                <a:cubicBezTo>
                  <a:pt x="2700" y="1025"/>
                  <a:pt x="2491" y="1361"/>
                  <a:pt x="2163" y="1475"/>
                </a:cubicBezTo>
                <a:close/>
                <a:moveTo>
                  <a:pt x="1643" y="608"/>
                </a:moveTo>
                <a:cubicBezTo>
                  <a:pt x="1401" y="407"/>
                  <a:pt x="1401" y="407"/>
                  <a:pt x="1401" y="407"/>
                </a:cubicBezTo>
                <a:cubicBezTo>
                  <a:pt x="1288" y="564"/>
                  <a:pt x="1247" y="770"/>
                  <a:pt x="1305" y="967"/>
                </a:cubicBezTo>
                <a:cubicBezTo>
                  <a:pt x="1600" y="859"/>
                  <a:pt x="1600" y="859"/>
                  <a:pt x="1600" y="859"/>
                </a:cubicBezTo>
                <a:cubicBezTo>
                  <a:pt x="1579" y="771"/>
                  <a:pt x="1597" y="681"/>
                  <a:pt x="1643" y="608"/>
                </a:cubicBezTo>
                <a:close/>
                <a:moveTo>
                  <a:pt x="1989" y="145"/>
                </a:moveTo>
                <a:cubicBezTo>
                  <a:pt x="1894" y="135"/>
                  <a:pt x="1795" y="146"/>
                  <a:pt x="1700" y="181"/>
                </a:cubicBezTo>
                <a:cubicBezTo>
                  <a:pt x="1604" y="216"/>
                  <a:pt x="1522" y="272"/>
                  <a:pt x="1456" y="342"/>
                </a:cubicBezTo>
                <a:cubicBezTo>
                  <a:pt x="1697" y="542"/>
                  <a:pt x="1697" y="542"/>
                  <a:pt x="1697" y="542"/>
                </a:cubicBezTo>
                <a:cubicBezTo>
                  <a:pt x="1728" y="513"/>
                  <a:pt x="1765" y="490"/>
                  <a:pt x="1808" y="474"/>
                </a:cubicBezTo>
                <a:cubicBezTo>
                  <a:pt x="1850" y="459"/>
                  <a:pt x="1894" y="452"/>
                  <a:pt x="1936" y="454"/>
                </a:cubicBezTo>
                <a:lnTo>
                  <a:pt x="1989" y="145"/>
                </a:lnTo>
                <a:close/>
                <a:moveTo>
                  <a:pt x="2216" y="631"/>
                </a:moveTo>
                <a:cubicBezTo>
                  <a:pt x="2510" y="523"/>
                  <a:pt x="2510" y="523"/>
                  <a:pt x="2510" y="523"/>
                </a:cubicBezTo>
                <a:cubicBezTo>
                  <a:pt x="2427" y="335"/>
                  <a:pt x="2262" y="205"/>
                  <a:pt x="2073" y="159"/>
                </a:cubicBezTo>
                <a:cubicBezTo>
                  <a:pt x="2020" y="469"/>
                  <a:pt x="2020" y="469"/>
                  <a:pt x="2020" y="469"/>
                </a:cubicBezTo>
                <a:cubicBezTo>
                  <a:pt x="2102" y="494"/>
                  <a:pt x="2174" y="551"/>
                  <a:pt x="2216" y="631"/>
                </a:cubicBezTo>
                <a:close/>
                <a:moveTo>
                  <a:pt x="2539" y="603"/>
                </a:moveTo>
                <a:cubicBezTo>
                  <a:pt x="2245" y="712"/>
                  <a:pt x="2245" y="712"/>
                  <a:pt x="2245" y="712"/>
                </a:cubicBezTo>
                <a:cubicBezTo>
                  <a:pt x="2265" y="800"/>
                  <a:pt x="2248" y="890"/>
                  <a:pt x="2202" y="962"/>
                </a:cubicBezTo>
                <a:cubicBezTo>
                  <a:pt x="2443" y="1163"/>
                  <a:pt x="2443" y="1163"/>
                  <a:pt x="2443" y="1163"/>
                </a:cubicBezTo>
                <a:cubicBezTo>
                  <a:pt x="2557" y="1006"/>
                  <a:pt x="2598" y="800"/>
                  <a:pt x="2539" y="603"/>
                </a:cubicBezTo>
                <a:close/>
                <a:moveTo>
                  <a:pt x="2066" y="1368"/>
                </a:moveTo>
                <a:cubicBezTo>
                  <a:pt x="2072" y="1372"/>
                  <a:pt x="2078" y="1377"/>
                  <a:pt x="2084" y="1382"/>
                </a:cubicBezTo>
                <a:cubicBezTo>
                  <a:pt x="2078" y="1377"/>
                  <a:pt x="2072" y="1372"/>
                  <a:pt x="2066" y="1368"/>
                </a:cubicBezTo>
                <a:close/>
                <a:moveTo>
                  <a:pt x="1390" y="1053"/>
                </a:moveTo>
                <a:cubicBezTo>
                  <a:pt x="1383" y="1050"/>
                  <a:pt x="1377" y="1046"/>
                  <a:pt x="1370" y="1043"/>
                </a:cubicBezTo>
                <a:cubicBezTo>
                  <a:pt x="1377" y="1046"/>
                  <a:pt x="1383" y="1050"/>
                  <a:pt x="1390" y="1053"/>
                </a:cubicBezTo>
                <a:close/>
                <a:moveTo>
                  <a:pt x="1437" y="1081"/>
                </a:moveTo>
                <a:cubicBezTo>
                  <a:pt x="1432" y="1078"/>
                  <a:pt x="1426" y="1074"/>
                  <a:pt x="1420" y="1070"/>
                </a:cubicBezTo>
                <a:cubicBezTo>
                  <a:pt x="1426" y="1074"/>
                  <a:pt x="1432" y="1078"/>
                  <a:pt x="1437" y="1081"/>
                </a:cubicBezTo>
                <a:close/>
                <a:moveTo>
                  <a:pt x="1764" y="1311"/>
                </a:moveTo>
                <a:cubicBezTo>
                  <a:pt x="1773" y="1309"/>
                  <a:pt x="1781" y="1307"/>
                  <a:pt x="1790" y="1305"/>
                </a:cubicBezTo>
                <a:cubicBezTo>
                  <a:pt x="1790" y="1305"/>
                  <a:pt x="1790" y="1305"/>
                  <a:pt x="1790" y="1305"/>
                </a:cubicBezTo>
                <a:cubicBezTo>
                  <a:pt x="1781" y="1307"/>
                  <a:pt x="1773" y="1309"/>
                  <a:pt x="1764" y="1311"/>
                </a:cubicBezTo>
                <a:close/>
                <a:moveTo>
                  <a:pt x="1877" y="1300"/>
                </a:moveTo>
                <a:cubicBezTo>
                  <a:pt x="1893" y="1301"/>
                  <a:pt x="1909" y="1303"/>
                  <a:pt x="1925" y="1306"/>
                </a:cubicBezTo>
                <a:cubicBezTo>
                  <a:pt x="1909" y="1303"/>
                  <a:pt x="1893" y="1301"/>
                  <a:pt x="1877" y="1300"/>
                </a:cubicBezTo>
                <a:close/>
                <a:moveTo>
                  <a:pt x="1940" y="1309"/>
                </a:moveTo>
                <a:cubicBezTo>
                  <a:pt x="1935" y="1308"/>
                  <a:pt x="1930" y="1307"/>
                  <a:pt x="1925" y="1306"/>
                </a:cubicBezTo>
                <a:cubicBezTo>
                  <a:pt x="1930" y="1307"/>
                  <a:pt x="1935" y="1308"/>
                  <a:pt x="1940" y="1309"/>
                </a:cubicBezTo>
                <a:close/>
                <a:moveTo>
                  <a:pt x="1964" y="1316"/>
                </a:moveTo>
                <a:cubicBezTo>
                  <a:pt x="1959" y="1315"/>
                  <a:pt x="1954" y="1313"/>
                  <a:pt x="1949" y="1312"/>
                </a:cubicBezTo>
                <a:cubicBezTo>
                  <a:pt x="1954" y="1313"/>
                  <a:pt x="1959" y="1315"/>
                  <a:pt x="1964" y="1316"/>
                </a:cubicBezTo>
                <a:close/>
                <a:moveTo>
                  <a:pt x="1963" y="1997"/>
                </a:moveTo>
                <a:cubicBezTo>
                  <a:pt x="1811" y="2045"/>
                  <a:pt x="1651" y="1986"/>
                  <a:pt x="1564" y="1863"/>
                </a:cubicBezTo>
                <a:cubicBezTo>
                  <a:pt x="1578" y="1846"/>
                  <a:pt x="1590" y="1827"/>
                  <a:pt x="1602" y="1808"/>
                </a:cubicBezTo>
                <a:cubicBezTo>
                  <a:pt x="1622" y="1842"/>
                  <a:pt x="1648" y="1871"/>
                  <a:pt x="1680" y="1895"/>
                </a:cubicBezTo>
                <a:cubicBezTo>
                  <a:pt x="1733" y="1818"/>
                  <a:pt x="1733" y="1818"/>
                  <a:pt x="1733" y="1818"/>
                </a:cubicBezTo>
                <a:cubicBezTo>
                  <a:pt x="1691" y="1786"/>
                  <a:pt x="1663" y="1738"/>
                  <a:pt x="1655" y="1685"/>
                </a:cubicBezTo>
                <a:cubicBezTo>
                  <a:pt x="1667" y="1645"/>
                  <a:pt x="1674" y="1604"/>
                  <a:pt x="1677" y="1562"/>
                </a:cubicBezTo>
                <a:cubicBezTo>
                  <a:pt x="1695" y="1527"/>
                  <a:pt x="1724" y="1498"/>
                  <a:pt x="1759" y="1479"/>
                </a:cubicBezTo>
                <a:cubicBezTo>
                  <a:pt x="1719" y="1394"/>
                  <a:pt x="1719" y="1394"/>
                  <a:pt x="1719" y="1394"/>
                </a:cubicBezTo>
                <a:cubicBezTo>
                  <a:pt x="1701" y="1404"/>
                  <a:pt x="1683" y="1415"/>
                  <a:pt x="1668" y="1428"/>
                </a:cubicBezTo>
                <a:cubicBezTo>
                  <a:pt x="1663" y="1407"/>
                  <a:pt x="1658" y="1385"/>
                  <a:pt x="1651" y="1364"/>
                </a:cubicBezTo>
                <a:cubicBezTo>
                  <a:pt x="1680" y="1343"/>
                  <a:pt x="1713" y="1327"/>
                  <a:pt x="1749" y="1316"/>
                </a:cubicBezTo>
                <a:cubicBezTo>
                  <a:pt x="1937" y="1257"/>
                  <a:pt x="2137" y="1361"/>
                  <a:pt x="2196" y="1550"/>
                </a:cubicBezTo>
                <a:cubicBezTo>
                  <a:pt x="2256" y="1738"/>
                  <a:pt x="2151" y="1938"/>
                  <a:pt x="1963" y="1997"/>
                </a:cubicBezTo>
                <a:close/>
                <a:moveTo>
                  <a:pt x="1778" y="1470"/>
                </a:moveTo>
                <a:cubicBezTo>
                  <a:pt x="1806" y="1458"/>
                  <a:pt x="1838" y="1452"/>
                  <a:pt x="1871" y="1455"/>
                </a:cubicBezTo>
                <a:cubicBezTo>
                  <a:pt x="1904" y="1457"/>
                  <a:pt x="1935" y="1468"/>
                  <a:pt x="1962" y="1484"/>
                </a:cubicBezTo>
                <a:cubicBezTo>
                  <a:pt x="2015" y="1407"/>
                  <a:pt x="2015" y="1407"/>
                  <a:pt x="2015" y="1407"/>
                </a:cubicBezTo>
                <a:cubicBezTo>
                  <a:pt x="1975" y="1382"/>
                  <a:pt x="1929" y="1365"/>
                  <a:pt x="1878" y="1362"/>
                </a:cubicBezTo>
                <a:cubicBezTo>
                  <a:pt x="1828" y="1358"/>
                  <a:pt x="1780" y="1367"/>
                  <a:pt x="1737" y="1385"/>
                </a:cubicBezTo>
                <a:lnTo>
                  <a:pt x="1778" y="1470"/>
                </a:lnTo>
                <a:close/>
                <a:moveTo>
                  <a:pt x="1974" y="1928"/>
                </a:moveTo>
                <a:cubicBezTo>
                  <a:pt x="1934" y="1843"/>
                  <a:pt x="1934" y="1843"/>
                  <a:pt x="1934" y="1843"/>
                </a:cubicBezTo>
                <a:cubicBezTo>
                  <a:pt x="1905" y="1855"/>
                  <a:pt x="1873" y="1861"/>
                  <a:pt x="1840" y="1858"/>
                </a:cubicBezTo>
                <a:cubicBezTo>
                  <a:pt x="1807" y="1856"/>
                  <a:pt x="1776" y="1845"/>
                  <a:pt x="1750" y="1829"/>
                </a:cubicBezTo>
                <a:cubicBezTo>
                  <a:pt x="1697" y="1906"/>
                  <a:pt x="1697" y="1906"/>
                  <a:pt x="1697" y="1906"/>
                </a:cubicBezTo>
                <a:cubicBezTo>
                  <a:pt x="1736" y="1932"/>
                  <a:pt x="1783" y="1948"/>
                  <a:pt x="1833" y="1952"/>
                </a:cubicBezTo>
                <a:cubicBezTo>
                  <a:pt x="1883" y="1955"/>
                  <a:pt x="1931" y="1947"/>
                  <a:pt x="1974" y="1928"/>
                </a:cubicBezTo>
                <a:close/>
                <a:moveTo>
                  <a:pt x="2150" y="1690"/>
                </a:moveTo>
                <a:cubicBezTo>
                  <a:pt x="2056" y="1682"/>
                  <a:pt x="2056" y="1682"/>
                  <a:pt x="2056" y="1682"/>
                </a:cubicBezTo>
                <a:cubicBezTo>
                  <a:pt x="2048" y="1749"/>
                  <a:pt x="2007" y="1804"/>
                  <a:pt x="1952" y="1834"/>
                </a:cubicBezTo>
                <a:cubicBezTo>
                  <a:pt x="1992" y="1919"/>
                  <a:pt x="1992" y="1919"/>
                  <a:pt x="1992" y="1919"/>
                </a:cubicBezTo>
                <a:cubicBezTo>
                  <a:pt x="2077" y="1875"/>
                  <a:pt x="2138" y="1791"/>
                  <a:pt x="2150" y="1690"/>
                </a:cubicBezTo>
                <a:close/>
                <a:moveTo>
                  <a:pt x="2031" y="1418"/>
                </a:moveTo>
                <a:cubicBezTo>
                  <a:pt x="1978" y="1496"/>
                  <a:pt x="1978" y="1496"/>
                  <a:pt x="1978" y="1496"/>
                </a:cubicBezTo>
                <a:cubicBezTo>
                  <a:pt x="2028" y="1534"/>
                  <a:pt x="2060" y="1595"/>
                  <a:pt x="2058" y="1662"/>
                </a:cubicBezTo>
                <a:cubicBezTo>
                  <a:pt x="2151" y="1669"/>
                  <a:pt x="2151" y="1669"/>
                  <a:pt x="2151" y="1669"/>
                </a:cubicBezTo>
                <a:cubicBezTo>
                  <a:pt x="2155" y="1568"/>
                  <a:pt x="2108" y="1475"/>
                  <a:pt x="2031" y="1418"/>
                </a:cubicBezTo>
                <a:close/>
                <a:moveTo>
                  <a:pt x="1377" y="2017"/>
                </a:moveTo>
                <a:cubicBezTo>
                  <a:pt x="1109" y="2150"/>
                  <a:pt x="784" y="2042"/>
                  <a:pt x="650" y="1774"/>
                </a:cubicBezTo>
                <a:cubicBezTo>
                  <a:pt x="517" y="1506"/>
                  <a:pt x="626" y="1180"/>
                  <a:pt x="893" y="1047"/>
                </a:cubicBezTo>
                <a:cubicBezTo>
                  <a:pt x="1161" y="913"/>
                  <a:pt x="1487" y="1022"/>
                  <a:pt x="1620" y="1290"/>
                </a:cubicBezTo>
                <a:cubicBezTo>
                  <a:pt x="1754" y="1558"/>
                  <a:pt x="1645" y="1883"/>
                  <a:pt x="1377" y="2017"/>
                </a:cubicBezTo>
                <a:close/>
                <a:moveTo>
                  <a:pt x="1097" y="1065"/>
                </a:moveTo>
                <a:cubicBezTo>
                  <a:pt x="1145" y="1399"/>
                  <a:pt x="1145" y="1399"/>
                  <a:pt x="1145" y="1399"/>
                </a:cubicBezTo>
                <a:cubicBezTo>
                  <a:pt x="1160" y="1399"/>
                  <a:pt x="1176" y="1402"/>
                  <a:pt x="1191" y="1408"/>
                </a:cubicBezTo>
                <a:cubicBezTo>
                  <a:pt x="1205" y="1414"/>
                  <a:pt x="1218" y="1422"/>
                  <a:pt x="1229" y="1432"/>
                </a:cubicBezTo>
                <a:cubicBezTo>
                  <a:pt x="1491" y="1227"/>
                  <a:pt x="1491" y="1227"/>
                  <a:pt x="1491" y="1227"/>
                </a:cubicBezTo>
                <a:cubicBezTo>
                  <a:pt x="1443" y="1172"/>
                  <a:pt x="1382" y="1126"/>
                  <a:pt x="1310" y="1097"/>
                </a:cubicBezTo>
                <a:cubicBezTo>
                  <a:pt x="1240" y="1069"/>
                  <a:pt x="1168" y="1059"/>
                  <a:pt x="1097" y="1065"/>
                </a:cubicBezTo>
                <a:close/>
                <a:moveTo>
                  <a:pt x="711" y="1335"/>
                </a:moveTo>
                <a:cubicBezTo>
                  <a:pt x="1026" y="1462"/>
                  <a:pt x="1026" y="1462"/>
                  <a:pt x="1026" y="1462"/>
                </a:cubicBezTo>
                <a:cubicBezTo>
                  <a:pt x="1043" y="1435"/>
                  <a:pt x="1068" y="1415"/>
                  <a:pt x="1097" y="1406"/>
                </a:cubicBezTo>
                <a:cubicBezTo>
                  <a:pt x="1050" y="1072"/>
                  <a:pt x="1050" y="1072"/>
                  <a:pt x="1050" y="1072"/>
                </a:cubicBezTo>
                <a:cubicBezTo>
                  <a:pt x="905" y="1099"/>
                  <a:pt x="776" y="1193"/>
                  <a:pt x="711" y="1335"/>
                </a:cubicBezTo>
                <a:close/>
                <a:moveTo>
                  <a:pt x="755" y="1805"/>
                </a:moveTo>
                <a:cubicBezTo>
                  <a:pt x="1021" y="1596"/>
                  <a:pt x="1021" y="1596"/>
                  <a:pt x="1021" y="1596"/>
                </a:cubicBezTo>
                <a:cubicBezTo>
                  <a:pt x="1007" y="1569"/>
                  <a:pt x="1002" y="1538"/>
                  <a:pt x="1008" y="1507"/>
                </a:cubicBezTo>
                <a:cubicBezTo>
                  <a:pt x="693" y="1380"/>
                  <a:pt x="693" y="1380"/>
                  <a:pt x="693" y="1380"/>
                </a:cubicBezTo>
                <a:cubicBezTo>
                  <a:pt x="642" y="1528"/>
                  <a:pt x="670" y="1685"/>
                  <a:pt x="755" y="1805"/>
                </a:cubicBezTo>
                <a:close/>
                <a:moveTo>
                  <a:pt x="1182" y="1998"/>
                </a:moveTo>
                <a:cubicBezTo>
                  <a:pt x="1135" y="1669"/>
                  <a:pt x="1135" y="1669"/>
                  <a:pt x="1135" y="1669"/>
                </a:cubicBezTo>
                <a:cubicBezTo>
                  <a:pt x="1120" y="1668"/>
                  <a:pt x="1105" y="1665"/>
                  <a:pt x="1090" y="1659"/>
                </a:cubicBezTo>
                <a:cubicBezTo>
                  <a:pt x="1075" y="1653"/>
                  <a:pt x="1062" y="1645"/>
                  <a:pt x="1050" y="1634"/>
                </a:cubicBezTo>
                <a:cubicBezTo>
                  <a:pt x="785" y="1842"/>
                  <a:pt x="785" y="1842"/>
                  <a:pt x="785" y="1842"/>
                </a:cubicBezTo>
                <a:cubicBezTo>
                  <a:pt x="832" y="1895"/>
                  <a:pt x="891" y="1938"/>
                  <a:pt x="961" y="1966"/>
                </a:cubicBezTo>
                <a:cubicBezTo>
                  <a:pt x="1033" y="1995"/>
                  <a:pt x="1109" y="2005"/>
                  <a:pt x="1182" y="1998"/>
                </a:cubicBezTo>
                <a:close/>
                <a:moveTo>
                  <a:pt x="1560" y="1728"/>
                </a:moveTo>
                <a:cubicBezTo>
                  <a:pt x="1255" y="1606"/>
                  <a:pt x="1255" y="1606"/>
                  <a:pt x="1255" y="1606"/>
                </a:cubicBezTo>
                <a:cubicBezTo>
                  <a:pt x="1237" y="1633"/>
                  <a:pt x="1212" y="1652"/>
                  <a:pt x="1183" y="1662"/>
                </a:cubicBezTo>
                <a:cubicBezTo>
                  <a:pt x="1229" y="1990"/>
                  <a:pt x="1229" y="1990"/>
                  <a:pt x="1229" y="1990"/>
                </a:cubicBezTo>
                <a:cubicBezTo>
                  <a:pt x="1371" y="1961"/>
                  <a:pt x="1496" y="1867"/>
                  <a:pt x="1560" y="1728"/>
                </a:cubicBezTo>
                <a:close/>
                <a:moveTo>
                  <a:pt x="1520" y="1266"/>
                </a:moveTo>
                <a:cubicBezTo>
                  <a:pt x="1260" y="1470"/>
                  <a:pt x="1260" y="1470"/>
                  <a:pt x="1260" y="1470"/>
                </a:cubicBezTo>
                <a:cubicBezTo>
                  <a:pt x="1274" y="1497"/>
                  <a:pt x="1279" y="1529"/>
                  <a:pt x="1272" y="1561"/>
                </a:cubicBezTo>
                <a:cubicBezTo>
                  <a:pt x="1578" y="1683"/>
                  <a:pt x="1578" y="1683"/>
                  <a:pt x="1578" y="1683"/>
                </a:cubicBezTo>
                <a:cubicBezTo>
                  <a:pt x="1628" y="1538"/>
                  <a:pt x="1602" y="1384"/>
                  <a:pt x="1520" y="126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4367244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par>
                                <p:cTn id="8" presetID="10" presetClass="entr" presetSubtype="0" fill="hold"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par>
                                <p:cTn id="11" presetID="10" presetClass="entr" presetSubtype="0" fill="hold" nodeType="withEffect">
                                  <p:stCondLst>
                                    <p:cond delay="0"/>
                                  </p:stCondLst>
                                  <p:childTnLst>
                                    <p:set>
                                      <p:cBhvr>
                                        <p:cTn id="12" dur="1" fill="hold">
                                          <p:stCondLst>
                                            <p:cond delay="0"/>
                                          </p:stCondLst>
                                        </p:cTn>
                                        <p:tgtEl>
                                          <p:spTgt spid="27"/>
                                        </p:tgtEl>
                                        <p:attrNameLst>
                                          <p:attrName>style.visibility</p:attrName>
                                        </p:attrNameLst>
                                      </p:cBhvr>
                                      <p:to>
                                        <p:strVal val="visible"/>
                                      </p:to>
                                    </p:set>
                                    <p:animEffect transition="in" filter="fade">
                                      <p:cBhvr>
                                        <p:cTn id="13" dur="500"/>
                                        <p:tgtEl>
                                          <p:spTgt spid="2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par>
                                <p:cTn id="19" presetID="10"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500"/>
                                        <p:tgtEl>
                                          <p:spTgt spid="14"/>
                                        </p:tgtEl>
                                      </p:cBhvr>
                                    </p:animEffect>
                                  </p:childTnLst>
                                </p:cTn>
                              </p:par>
                              <p:par>
                                <p:cTn id="22" presetID="10" presetClass="entr" presetSubtype="0" fill="hold"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26"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953709" y="1335640"/>
            <a:ext cx="6316988" cy="3287731"/>
            <a:chOff x="1953709" y="1335640"/>
            <a:chExt cx="6316988" cy="3287731"/>
          </a:xfrm>
          <a:solidFill>
            <a:schemeClr val="bg2"/>
          </a:solidFill>
        </p:grpSpPr>
        <p:sp>
          <p:nvSpPr>
            <p:cNvPr id="4" name="Rectangle 3"/>
            <p:cNvSpPr/>
            <p:nvPr>
              <p:custDataLst>
                <p:tags r:id="rId6"/>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a:ln>
                    <a:solidFill>
                      <a:schemeClr val="bg1">
                        <a:alpha val="0"/>
                      </a:schemeClr>
                    </a:solidFill>
                  </a:ln>
                  <a:solidFill>
                    <a:schemeClr val="tx1">
                      <a:alpha val="99000"/>
                    </a:schemeClr>
                  </a:solidFill>
                  <a:latin typeface="Segoe UI Light" pitchFamily="34" charset="0"/>
                </a:rPr>
                <a:t>Implicit Cloud Service</a:t>
              </a:r>
            </a:p>
          </p:txBody>
        </p:sp>
        <p:sp>
          <p:nvSpPr>
            <p:cNvPr id="9" name="Freeform 128"/>
            <p:cNvSpPr>
              <a:spLocks noChangeAspect="1"/>
            </p:cNvSpPr>
            <p:nvPr/>
          </p:nvSpPr>
          <p:spPr bwMode="black">
            <a:xfrm>
              <a:off x="2910918" y="1443506"/>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 name="Rectangle 2"/>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574290774"/>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720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44847"/>
          </a:xfrm>
        </p:spPr>
        <p:txBody>
          <a:bodyPr/>
          <a:lstStyle/>
          <a:p>
            <a:r>
              <a:rPr lang="en-US" dirty="0" smtClean="0"/>
              <a:t>Virtual Machines</a:t>
            </a:r>
            <a:r>
              <a:rPr lang="en-US" dirty="0"/>
              <a:t/>
            </a:r>
            <a:br>
              <a:rPr lang="en-US" dirty="0"/>
            </a:br>
            <a:r>
              <a:rPr lang="en-US" sz="2000" dirty="0">
                <a:solidFill>
                  <a:schemeClr val="tx2">
                    <a:alpha val="99000"/>
                  </a:schemeClr>
                </a:solidFill>
              </a:rPr>
              <a:t>Virtual Machines are roles with exactly one instance </a:t>
            </a:r>
          </a:p>
        </p:txBody>
      </p:sp>
      <p:sp>
        <p:nvSpPr>
          <p:cNvPr id="6" name="Rectangle 5"/>
          <p:cNvSpPr/>
          <p:nvPr>
            <p:custDataLst>
              <p:tags r:id="rId4"/>
            </p:custDataLst>
          </p:nvPr>
        </p:nvSpPr>
        <p:spPr bwMode="auto">
          <a:xfrm>
            <a:off x="2277631" y="1789005"/>
            <a:ext cx="5612921"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9" name="Rectangle 28"/>
          <p:cNvSpPr/>
          <p:nvPr>
            <p:custDataLst>
              <p:tags r:id="rId5"/>
            </p:custDataLst>
          </p:nvPr>
        </p:nvSpPr>
        <p:spPr bwMode="auto">
          <a:xfrm>
            <a:off x="2869104" y="2384091"/>
            <a:ext cx="4589934"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
        <p:nvSpPr>
          <p:cNvPr id="7" name="Freeform 24"/>
          <p:cNvSpPr>
            <a:spLocks noEditPoints="1"/>
          </p:cNvSpPr>
          <p:nvPr/>
        </p:nvSpPr>
        <p:spPr bwMode="black">
          <a:xfrm>
            <a:off x="634687" y="1789004"/>
            <a:ext cx="983419" cy="75959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42225510"/>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ext uri="{D42A27DB-BD31-4B8C-83A1-F6EECF244321}">
                <p14:modId xmlns:p14="http://schemas.microsoft.com/office/powerpoint/2010/main" val="1448663811"/>
              </p:ext>
            </p:extLst>
          </p:nvPr>
        </p:nvGraphicFramePr>
        <p:xfrm>
          <a:off x="1" y="1"/>
          <a:ext cx="119094" cy="119063"/>
        </p:xfrm>
        <a:graphic>
          <a:graphicData uri="http://schemas.openxmlformats.org/presentationml/2006/ole">
            <mc:AlternateContent xmlns:mc="http://schemas.openxmlformats.org/markup-compatibility/2006">
              <mc:Choice xmlns:v="urn:schemas-microsoft-com:vml" Requires="v">
                <p:oleObj spid="_x0000_s8230"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1"/>
                        <a:ext cx="119094" cy="119063"/>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389436" y="171451"/>
            <a:ext cx="8363938" cy="844847"/>
          </a:xfrm>
        </p:spPr>
        <p:txBody>
          <a:bodyPr/>
          <a:lstStyle/>
          <a:p>
            <a:r>
              <a:rPr lang="en-US" dirty="0" smtClean="0"/>
              <a:t>Cloud </a:t>
            </a:r>
            <a:r>
              <a:rPr lang="en-US" smtClean="0"/>
              <a:t>Services with Virtual </a:t>
            </a:r>
            <a:r>
              <a:rPr lang="en-US" dirty="0" smtClean="0"/>
              <a:t>Machines</a:t>
            </a:r>
            <a:r>
              <a:rPr lang="en-US" dirty="0"/>
              <a:t/>
            </a:r>
            <a:br>
              <a:rPr lang="en-US" dirty="0"/>
            </a:br>
            <a:r>
              <a:rPr lang="en-US" sz="2000" dirty="0">
                <a:solidFill>
                  <a:schemeClr val="tx2"/>
                </a:solidFill>
              </a:rPr>
              <a:t>Multiple Virtual Machines can be hosted within the same cloud service </a:t>
            </a:r>
          </a:p>
        </p:txBody>
      </p:sp>
      <p:grpSp>
        <p:nvGrpSpPr>
          <p:cNvPr id="9" name="Group 8"/>
          <p:cNvGrpSpPr/>
          <p:nvPr/>
        </p:nvGrpSpPr>
        <p:grpSpPr>
          <a:xfrm>
            <a:off x="1953709" y="1335640"/>
            <a:ext cx="6316988" cy="3287731"/>
            <a:chOff x="1953709" y="1335640"/>
            <a:chExt cx="6316988" cy="3287731"/>
          </a:xfrm>
          <a:solidFill>
            <a:schemeClr val="bg2"/>
          </a:solidFill>
        </p:grpSpPr>
        <p:sp>
          <p:nvSpPr>
            <p:cNvPr id="10" name="Rectangle 9"/>
            <p:cNvSpPr/>
            <p:nvPr>
              <p:custDataLst>
                <p:tags r:id="rId8"/>
              </p:custDataLst>
            </p:nvPr>
          </p:nvSpPr>
          <p:spPr bwMode="auto">
            <a:xfrm>
              <a:off x="1953709" y="1335640"/>
              <a:ext cx="6316988" cy="328773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sz="2400" cap="all" dirty="0" smtClean="0">
                  <a:ln>
                    <a:solidFill>
                      <a:schemeClr val="bg1">
                        <a:alpha val="0"/>
                      </a:schemeClr>
                    </a:solidFill>
                  </a:ln>
                  <a:solidFill>
                    <a:schemeClr val="tx1">
                      <a:alpha val="99000"/>
                    </a:schemeClr>
                  </a:solidFill>
                  <a:latin typeface="Segoe UI Light" pitchFamily="34" charset="0"/>
                </a:rPr>
                <a:t>Cloud </a:t>
              </a:r>
              <a:r>
                <a:rPr lang="en-US" sz="2400" cap="all" dirty="0">
                  <a:ln>
                    <a:solidFill>
                      <a:schemeClr val="bg1">
                        <a:alpha val="0"/>
                      </a:schemeClr>
                    </a:solidFill>
                  </a:ln>
                  <a:solidFill>
                    <a:schemeClr val="tx1">
                      <a:alpha val="99000"/>
                    </a:schemeClr>
                  </a:solidFill>
                  <a:latin typeface="Segoe UI Light" pitchFamily="34" charset="0"/>
                </a:rPr>
                <a:t>Service</a:t>
              </a:r>
            </a:p>
          </p:txBody>
        </p:sp>
        <p:sp>
          <p:nvSpPr>
            <p:cNvPr id="11" name="Freeform 128"/>
            <p:cNvSpPr>
              <a:spLocks noChangeAspect="1"/>
            </p:cNvSpPr>
            <p:nvPr/>
          </p:nvSpPr>
          <p:spPr bwMode="black">
            <a:xfrm>
              <a:off x="3517093" y="1443505"/>
              <a:ext cx="427724" cy="236281"/>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grp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12" name="Rectangle 11"/>
          <p:cNvSpPr/>
          <p:nvPr/>
        </p:nvSpPr>
        <p:spPr bwMode="auto">
          <a:xfrm>
            <a:off x="389436" y="1335640"/>
            <a:ext cx="1564274" cy="156427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24"/>
          <p:cNvSpPr>
            <a:spLocks noEditPoints="1"/>
          </p:cNvSpPr>
          <p:nvPr/>
        </p:nvSpPr>
        <p:spPr bwMode="black">
          <a:xfrm>
            <a:off x="634687" y="1789004"/>
            <a:ext cx="983419" cy="759595"/>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12"/>
          <p:cNvSpPr/>
          <p:nvPr>
            <p:custDataLst>
              <p:tags r:id="rId4"/>
            </p:custDataLst>
          </p:nvPr>
        </p:nvSpPr>
        <p:spPr bwMode="auto">
          <a:xfrm>
            <a:off x="2277632" y="1789005"/>
            <a:ext cx="2674512"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14" name="Rectangle 13"/>
          <p:cNvSpPr/>
          <p:nvPr>
            <p:custDataLst>
              <p:tags r:id="rId5"/>
            </p:custDataLst>
          </p:nvPr>
        </p:nvSpPr>
        <p:spPr bwMode="auto">
          <a:xfrm>
            <a:off x="2869104" y="2384091"/>
            <a:ext cx="1528235"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
        <p:nvSpPr>
          <p:cNvPr id="19" name="Rectangle 18"/>
          <p:cNvSpPr/>
          <p:nvPr>
            <p:custDataLst>
              <p:tags r:id="rId6"/>
            </p:custDataLst>
          </p:nvPr>
        </p:nvSpPr>
        <p:spPr bwMode="auto">
          <a:xfrm>
            <a:off x="5208994" y="1789005"/>
            <a:ext cx="2674512" cy="241312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r>
              <a:rPr lang="en-US" cap="all" dirty="0" smtClean="0">
                <a:ln>
                  <a:solidFill>
                    <a:schemeClr val="bg1">
                      <a:alpha val="0"/>
                    </a:schemeClr>
                  </a:solidFill>
                </a:ln>
                <a:gradFill>
                  <a:gsLst>
                    <a:gs pos="0">
                      <a:srgbClr val="FFFFFF"/>
                    </a:gs>
                    <a:gs pos="100000">
                      <a:srgbClr val="FFFFFF"/>
                    </a:gs>
                  </a:gsLst>
                  <a:lin ang="5400000" scaled="0"/>
                </a:gradFill>
              </a:rPr>
              <a:t>Virtual Machine</a:t>
            </a:r>
            <a:endParaRPr lang="en-US" cap="all" dirty="0">
              <a:ln>
                <a:solidFill>
                  <a:schemeClr val="bg1">
                    <a:alpha val="0"/>
                  </a:schemeClr>
                </a:solidFill>
              </a:ln>
              <a:gradFill>
                <a:gsLst>
                  <a:gs pos="0">
                    <a:srgbClr val="FFFFFF"/>
                  </a:gs>
                  <a:gs pos="100000">
                    <a:srgbClr val="FFFFFF"/>
                  </a:gs>
                </a:gsLst>
                <a:lin ang="5400000" scaled="0"/>
              </a:gradFill>
            </a:endParaRPr>
          </a:p>
        </p:txBody>
      </p:sp>
      <p:sp>
        <p:nvSpPr>
          <p:cNvPr id="20" name="Rectangle 19"/>
          <p:cNvSpPr/>
          <p:nvPr>
            <p:custDataLst>
              <p:tags r:id="rId7"/>
            </p:custDataLst>
          </p:nvPr>
        </p:nvSpPr>
        <p:spPr bwMode="auto">
          <a:xfrm>
            <a:off x="5800466" y="2384091"/>
            <a:ext cx="1528235" cy="1376251"/>
          </a:xfrm>
          <a:prstGeom prst="rect">
            <a:avLst/>
          </a:prstGeom>
          <a:solidFill>
            <a:schemeClr val="accent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r>
              <a:rPr lang="en-US" sz="1700" dirty="0">
                <a:ln>
                  <a:solidFill>
                    <a:schemeClr val="bg1">
                      <a:alpha val="0"/>
                    </a:schemeClr>
                  </a:solidFill>
                </a:ln>
                <a:solidFill>
                  <a:schemeClr val="tx2">
                    <a:alpha val="99000"/>
                  </a:schemeClr>
                </a:solidFill>
              </a:rPr>
              <a:t>VM</a:t>
            </a:r>
            <a:endParaRPr lang="en-US" sz="1700" baseline="-25000" dirty="0">
              <a:ln>
                <a:solidFill>
                  <a:schemeClr val="bg1">
                    <a:alpha val="0"/>
                  </a:schemeClr>
                </a:solidFill>
              </a:ln>
              <a:solidFill>
                <a:schemeClr val="tx2">
                  <a:alpha val="99000"/>
                </a:schemeClr>
              </a:solidFill>
            </a:endParaRPr>
          </a:p>
        </p:txBody>
      </p:sp>
    </p:spTree>
    <p:extLst>
      <p:ext uri="{BB962C8B-B14F-4D97-AF65-F5344CB8AC3E}">
        <p14:creationId xmlns:p14="http://schemas.microsoft.com/office/powerpoint/2010/main" val="2533629744"/>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p:txBody>
          <a:bodyPr/>
          <a:lstStyle/>
          <a:p>
            <a:r>
              <a:rPr lang="en-US" sz="5400" dirty="0"/>
              <a:t>Virtual Machine Networking</a:t>
            </a:r>
          </a:p>
        </p:txBody>
      </p:sp>
    </p:spTree>
    <p:extLst>
      <p:ext uri="{BB962C8B-B14F-4D97-AF65-F5344CB8AC3E}">
        <p14:creationId xmlns:p14="http://schemas.microsoft.com/office/powerpoint/2010/main" val="280322645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67848"/>
          </a:xfrm>
        </p:spPr>
        <p:txBody>
          <a:bodyPr/>
          <a:lstStyle/>
          <a:p>
            <a:r>
              <a:rPr lang="en-US" dirty="0" smtClean="0"/>
              <a:t>Virtual Machine Names and DNS</a:t>
            </a:r>
            <a:endParaRPr lang="en-US" dirty="0"/>
          </a:p>
        </p:txBody>
      </p:sp>
      <p:sp>
        <p:nvSpPr>
          <p:cNvPr id="3" name="Content Placeholder 2"/>
          <p:cNvSpPr>
            <a:spLocks noGrp="1"/>
          </p:cNvSpPr>
          <p:nvPr>
            <p:ph type="body" sz="quarter" idx="10"/>
          </p:nvPr>
        </p:nvSpPr>
        <p:spPr>
          <a:xfrm>
            <a:off x="389436" y="1085849"/>
            <a:ext cx="8363938" cy="3320909"/>
          </a:xfrm>
        </p:spPr>
        <p:txBody>
          <a:bodyPr/>
          <a:lstStyle/>
          <a:p>
            <a:r>
              <a:rPr lang="en-US" dirty="0" smtClean="0">
                <a:solidFill>
                  <a:schemeClr val="accent2">
                    <a:alpha val="99000"/>
                  </a:schemeClr>
                </a:solidFill>
              </a:rPr>
              <a:t>Full Control Over Machine Names </a:t>
            </a:r>
          </a:p>
          <a:p>
            <a:endParaRPr lang="en-US" dirty="0" smtClean="0"/>
          </a:p>
          <a:p>
            <a:r>
              <a:rPr lang="en-US" dirty="0" smtClean="0">
                <a:solidFill>
                  <a:schemeClr val="accent2">
                    <a:alpha val="99000"/>
                  </a:schemeClr>
                </a:solidFill>
              </a:rPr>
              <a:t>Windows Azure provided DNS</a:t>
            </a:r>
          </a:p>
          <a:p>
            <a:pPr marL="259525" lvl="1" indent="0">
              <a:buNone/>
            </a:pPr>
            <a:r>
              <a:rPr lang="en-US" dirty="0" smtClean="0"/>
              <a:t>Resolves VMs by name within the same cloud service</a:t>
            </a:r>
          </a:p>
          <a:p>
            <a:pPr marL="259525" lvl="1" indent="0">
              <a:buNone/>
            </a:pPr>
            <a:r>
              <a:rPr lang="en-US" dirty="0" smtClean="0"/>
              <a:t>Machine names are modeled explicitly and registered in the DNS service</a:t>
            </a:r>
          </a:p>
          <a:p>
            <a:pPr lvl="4"/>
            <a:endParaRPr lang="en-US" dirty="0" smtClean="0"/>
          </a:p>
          <a:p>
            <a:r>
              <a:rPr lang="en-US" dirty="0" smtClean="0">
                <a:solidFill>
                  <a:schemeClr val="accent2">
                    <a:alpha val="99000"/>
                  </a:schemeClr>
                </a:solidFill>
              </a:rPr>
              <a:t>Bring Your Own DNS Server</a:t>
            </a:r>
          </a:p>
          <a:p>
            <a:pPr marL="259525" lvl="1" indent="0">
              <a:buNone/>
            </a:pPr>
            <a:r>
              <a:rPr lang="en-US" dirty="0" smtClean="0"/>
              <a:t>Use </a:t>
            </a:r>
            <a:r>
              <a:rPr lang="en-US" smtClean="0"/>
              <a:t>your on-premises </a:t>
            </a:r>
            <a:r>
              <a:rPr lang="en-US" dirty="0" smtClean="0"/>
              <a:t>DNS servers</a:t>
            </a:r>
          </a:p>
          <a:p>
            <a:pPr marL="259525" lvl="1" indent="0">
              <a:buNone/>
            </a:pPr>
            <a:r>
              <a:rPr lang="en-US" dirty="0" smtClean="0"/>
              <a:t>Deploy a DNS server in Windows Azure</a:t>
            </a:r>
          </a:p>
          <a:p>
            <a:pPr marL="259525" lvl="1" indent="0">
              <a:buNone/>
            </a:pPr>
            <a:r>
              <a:rPr lang="en-US" dirty="0" smtClean="0"/>
              <a:t>Use public DNS services</a:t>
            </a:r>
            <a:endParaRPr lang="en-US" dirty="0"/>
          </a:p>
        </p:txBody>
      </p:sp>
    </p:spTree>
    <p:extLst>
      <p:ext uri="{BB962C8B-B14F-4D97-AF65-F5344CB8AC3E}">
        <p14:creationId xmlns:p14="http://schemas.microsoft.com/office/powerpoint/2010/main" val="494714756"/>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Protocols and Endpoints</a:t>
            </a:r>
            <a:endParaRPr lang="en-US" dirty="0"/>
          </a:p>
        </p:txBody>
      </p:sp>
      <p:sp>
        <p:nvSpPr>
          <p:cNvPr id="3" name="Content Placeholder 2"/>
          <p:cNvSpPr>
            <a:spLocks noGrp="1"/>
          </p:cNvSpPr>
          <p:nvPr>
            <p:ph type="body" sz="quarter" idx="10"/>
          </p:nvPr>
        </p:nvSpPr>
        <p:spPr>
          <a:xfrm>
            <a:off x="389436" y="1085853"/>
            <a:ext cx="8363938" cy="3926459"/>
          </a:xfrm>
        </p:spPr>
        <p:txBody>
          <a:bodyPr/>
          <a:lstStyle/>
          <a:p>
            <a:r>
              <a:rPr lang="en-US" sz="2000" dirty="0">
                <a:solidFill>
                  <a:schemeClr val="accent2">
                    <a:alpha val="99000"/>
                  </a:schemeClr>
                </a:solidFill>
              </a:rPr>
              <a:t>UDP Traffic Supported in WA </a:t>
            </a:r>
          </a:p>
          <a:p>
            <a:pPr marL="259525" lvl="1" indent="0">
              <a:buNone/>
            </a:pPr>
            <a:r>
              <a:rPr lang="en-US" sz="2000" dirty="0"/>
              <a:t>Load-balanced incoming traffic and allows outbound traffic</a:t>
            </a:r>
          </a:p>
          <a:p>
            <a:pPr lvl="1"/>
            <a:endParaRPr lang="en-US" sz="2000" dirty="0"/>
          </a:p>
          <a:p>
            <a:r>
              <a:rPr lang="en-US" sz="2000" dirty="0">
                <a:solidFill>
                  <a:schemeClr val="accent2">
                    <a:alpha val="99000"/>
                  </a:schemeClr>
                </a:solidFill>
              </a:rPr>
              <a:t>Support for All IP-Based Protocols (VM to VM)</a:t>
            </a:r>
          </a:p>
          <a:p>
            <a:pPr marL="259525" lvl="1" indent="0">
              <a:buNone/>
            </a:pPr>
            <a:r>
              <a:rPr lang="en-US" sz="2000" dirty="0"/>
              <a:t>Instance-to-instance communication</a:t>
            </a:r>
          </a:p>
          <a:p>
            <a:pPr marL="259525" lvl="1" indent="0">
              <a:buNone/>
            </a:pPr>
            <a:r>
              <a:rPr lang="en-US" sz="2000" dirty="0"/>
              <a:t>TCP, UDP and ICMP, dynamic ports</a:t>
            </a:r>
          </a:p>
          <a:p>
            <a:pPr lvl="1"/>
            <a:endParaRPr lang="en-US" sz="2000" dirty="0">
              <a:solidFill>
                <a:schemeClr val="accent2">
                  <a:alpha val="99000"/>
                </a:schemeClr>
              </a:solidFill>
            </a:endParaRPr>
          </a:p>
          <a:p>
            <a:r>
              <a:rPr lang="en-US" sz="2000" dirty="0">
                <a:solidFill>
                  <a:schemeClr val="accent2">
                    <a:alpha val="99000"/>
                  </a:schemeClr>
                </a:solidFill>
              </a:rPr>
              <a:t>Port Forwarded Endpoints</a:t>
            </a:r>
          </a:p>
          <a:p>
            <a:pPr marL="259525" lvl="1" indent="0">
              <a:buNone/>
            </a:pPr>
            <a:r>
              <a:rPr lang="en-US" sz="2000" dirty="0"/>
              <a:t>Direct communication to multiple VMs in the same cloud app</a:t>
            </a:r>
          </a:p>
          <a:p>
            <a:endParaRPr lang="en-US" sz="2000" dirty="0">
              <a:solidFill>
                <a:schemeClr val="accent2">
                  <a:alpha val="99000"/>
                </a:schemeClr>
              </a:solidFill>
            </a:endParaRPr>
          </a:p>
          <a:p>
            <a:r>
              <a:rPr lang="en-US" sz="2000" dirty="0">
                <a:solidFill>
                  <a:schemeClr val="accent2">
                    <a:alpha val="99000"/>
                  </a:schemeClr>
                </a:solidFill>
              </a:rPr>
              <a:t>Custom Load Balancer Health Probes</a:t>
            </a:r>
          </a:p>
          <a:p>
            <a:pPr marL="259525" lvl="1" indent="0">
              <a:buNone/>
            </a:pPr>
            <a:r>
              <a:rPr lang="en-US" sz="2000" dirty="0"/>
              <a:t>Health check with probe timeouts</a:t>
            </a:r>
          </a:p>
          <a:p>
            <a:pPr marL="259525" lvl="1" indent="0">
              <a:buNone/>
            </a:pPr>
            <a:r>
              <a:rPr lang="en-US" sz="2000" dirty="0"/>
              <a:t>HTTP based probing, allowing granular control of health checks</a:t>
            </a:r>
          </a:p>
          <a:p>
            <a:endParaRPr lang="en-US" sz="2000" dirty="0"/>
          </a:p>
        </p:txBody>
      </p:sp>
    </p:spTree>
    <p:extLst>
      <p:ext uri="{BB962C8B-B14F-4D97-AF65-F5344CB8AC3E}">
        <p14:creationId xmlns:p14="http://schemas.microsoft.com/office/powerpoint/2010/main" val="248717223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5282568" y="1267729"/>
            <a:ext cx="3253615" cy="2756318"/>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endParaRPr lang="en-US" sz="2100" spc="-38" dirty="0">
              <a:ln>
                <a:solidFill>
                  <a:schemeClr val="bg1">
                    <a:alpha val="0"/>
                  </a:schemeClr>
                </a:solidFill>
              </a:ln>
              <a:solidFill>
                <a:srgbClr val="595959">
                  <a:alpha val="99000"/>
                </a:srgbClr>
              </a:solidFill>
            </a:endParaRPr>
          </a:p>
        </p:txBody>
      </p:sp>
      <p:sp>
        <p:nvSpPr>
          <p:cNvPr id="2" name="Title 1"/>
          <p:cNvSpPr>
            <a:spLocks noGrp="1"/>
          </p:cNvSpPr>
          <p:nvPr>
            <p:ph type="title"/>
          </p:nvPr>
        </p:nvSpPr>
        <p:spPr/>
        <p:txBody>
          <a:bodyPr/>
          <a:lstStyle/>
          <a:p>
            <a:r>
              <a:rPr lang="en-US" dirty="0" smtClean="0"/>
              <a:t>Port Forwarding Input Endpoints</a:t>
            </a:r>
            <a:endParaRPr lang="en-US" dirty="0"/>
          </a:p>
        </p:txBody>
      </p:sp>
      <p:grpSp>
        <p:nvGrpSpPr>
          <p:cNvPr id="39" name="Group 38"/>
          <p:cNvGrpSpPr/>
          <p:nvPr/>
        </p:nvGrpSpPr>
        <p:grpSpPr>
          <a:xfrm>
            <a:off x="6139327" y="3191865"/>
            <a:ext cx="1509153" cy="504894"/>
            <a:chOff x="8515645" y="4889713"/>
            <a:chExt cx="2011680" cy="914400"/>
          </a:xfrm>
        </p:grpSpPr>
        <p:sp>
          <p:nvSpPr>
            <p:cNvPr id="40" name="Rectangle 39"/>
            <p:cNvSpPr/>
            <p:nvPr/>
          </p:nvSpPr>
          <p:spPr bwMode="auto">
            <a:xfrm>
              <a:off x="8515645" y="488971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607441" y="5026873"/>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p:txBody>
        </p:sp>
      </p:grpSp>
      <p:sp>
        <p:nvSpPr>
          <p:cNvPr id="42" name="Trapezoid 41"/>
          <p:cNvSpPr/>
          <p:nvPr/>
        </p:nvSpPr>
        <p:spPr bwMode="auto">
          <a:xfrm rot="16200000">
            <a:off x="3157056" y="2165700"/>
            <a:ext cx="2756318" cy="9603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IP</a:t>
            </a:r>
          </a:p>
        </p:txBody>
      </p:sp>
      <p:grpSp>
        <p:nvGrpSpPr>
          <p:cNvPr id="64" name="Group 63"/>
          <p:cNvGrpSpPr/>
          <p:nvPr/>
        </p:nvGrpSpPr>
        <p:grpSpPr>
          <a:xfrm>
            <a:off x="6154799" y="1650212"/>
            <a:ext cx="1509153" cy="504894"/>
            <a:chOff x="8820127" y="4800893"/>
            <a:chExt cx="2011680" cy="914400"/>
          </a:xfrm>
        </p:grpSpPr>
        <p:sp>
          <p:nvSpPr>
            <p:cNvPr id="65" name="Rectangle 64"/>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66" name="Rectangle 65"/>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p:txBody>
        </p:sp>
      </p:grpSp>
      <p:grpSp>
        <p:nvGrpSpPr>
          <p:cNvPr id="72" name="Group 71"/>
          <p:cNvGrpSpPr/>
          <p:nvPr/>
        </p:nvGrpSpPr>
        <p:grpSpPr>
          <a:xfrm>
            <a:off x="5061734" y="1496332"/>
            <a:ext cx="959750" cy="571767"/>
            <a:chOff x="664614" y="2640917"/>
            <a:chExt cx="2072367" cy="1538524"/>
          </a:xfrm>
        </p:grpSpPr>
        <p:sp>
          <p:nvSpPr>
            <p:cNvPr id="74" name="Rectangle 73"/>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sp>
          <p:nvSpPr>
            <p:cNvPr id="73" name="Right Arrow 72"/>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grpSp>
      <p:grpSp>
        <p:nvGrpSpPr>
          <p:cNvPr id="78" name="Group 77"/>
          <p:cNvGrpSpPr/>
          <p:nvPr/>
        </p:nvGrpSpPr>
        <p:grpSpPr>
          <a:xfrm>
            <a:off x="2928237" y="1519625"/>
            <a:ext cx="959750" cy="571767"/>
            <a:chOff x="731225" y="2640917"/>
            <a:chExt cx="2072367" cy="1538524"/>
          </a:xfrm>
        </p:grpSpPr>
        <p:sp>
          <p:nvSpPr>
            <p:cNvPr id="79" name="Right Arrow 7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0" name="Rectangle 79"/>
            <p:cNvSpPr/>
            <p:nvPr/>
          </p:nvSpPr>
          <p:spPr bwMode="auto">
            <a:xfrm>
              <a:off x="731225"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6</a:t>
              </a:r>
            </a:p>
          </p:txBody>
        </p:sp>
      </p:grpSp>
      <p:grpSp>
        <p:nvGrpSpPr>
          <p:cNvPr id="81" name="Group 80"/>
          <p:cNvGrpSpPr/>
          <p:nvPr/>
        </p:nvGrpSpPr>
        <p:grpSpPr>
          <a:xfrm>
            <a:off x="2928237" y="2944132"/>
            <a:ext cx="959750" cy="571767"/>
            <a:chOff x="664616" y="2640917"/>
            <a:chExt cx="2072367" cy="1538524"/>
          </a:xfrm>
        </p:grpSpPr>
        <p:sp>
          <p:nvSpPr>
            <p:cNvPr id="82" name="Right Arrow 81"/>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83" name="Rectangle 82"/>
            <p:cNvSpPr/>
            <p:nvPr/>
          </p:nvSpPr>
          <p:spPr bwMode="auto">
            <a:xfrm>
              <a:off x="664616"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5587</a:t>
              </a:r>
            </a:p>
          </p:txBody>
        </p:sp>
      </p:grpSp>
      <p:sp>
        <p:nvSpPr>
          <p:cNvPr id="10" name="TextBox 9"/>
          <p:cNvSpPr txBox="1"/>
          <p:nvPr/>
        </p:nvSpPr>
        <p:spPr>
          <a:xfrm>
            <a:off x="2740777" y="4195405"/>
            <a:ext cx="6030049" cy="443198"/>
          </a:xfrm>
          <a:prstGeom prst="rect">
            <a:avLst/>
          </a:prstGeom>
          <a:noFill/>
        </p:spPr>
        <p:txBody>
          <a:bodyPr wrap="none" lIns="0" tIns="0" rIns="0" bIns="0" rtlCol="0">
            <a:spAutoFit/>
          </a:bodyPr>
          <a:lstStyle/>
          <a:p>
            <a:pPr>
              <a:lnSpc>
                <a:spcPct val="90000"/>
              </a:lnSpc>
              <a:spcBef>
                <a:spcPct val="20000"/>
              </a:spcBef>
              <a:buSzPct val="80000"/>
            </a:pPr>
            <a:r>
              <a:rPr lang="en-US" sz="3200" dirty="0">
                <a:solidFill>
                  <a:schemeClr val="tx2">
                    <a:alpha val="99000"/>
                  </a:schemeClr>
                </a:solidFill>
              </a:rPr>
              <a:t>Single Public IP Per Cloud Service</a:t>
            </a:r>
          </a:p>
        </p:txBody>
      </p:sp>
      <p:sp>
        <p:nvSpPr>
          <p:cNvPr id="85" name="Rectangle 84"/>
          <p:cNvSpPr/>
          <p:nvPr/>
        </p:nvSpPr>
        <p:spPr bwMode="auto">
          <a:xfrm>
            <a:off x="5755803" y="869941"/>
            <a:ext cx="2326563" cy="3116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08" tIns="45706" rIns="45708" bIns="45706"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Cloud App / Hosted Service</a:t>
            </a:r>
          </a:p>
        </p:txBody>
      </p:sp>
      <p:sp>
        <p:nvSpPr>
          <p:cNvPr id="11" name="TextBox 10"/>
          <p:cNvSpPr txBox="1"/>
          <p:nvPr/>
        </p:nvSpPr>
        <p:spPr>
          <a:xfrm>
            <a:off x="381000" y="1280160"/>
            <a:ext cx="1974130" cy="1495794"/>
          </a:xfrm>
          <a:prstGeom prst="rect">
            <a:avLst/>
          </a:prstGeom>
          <a:noFill/>
        </p:spPr>
        <p:txBody>
          <a:bodyPr wrap="none" lIns="0" tIns="0" rIns="0" bIns="0" rtlCol="0">
            <a:spAutoFit/>
          </a:bodyPr>
          <a:lstStyle/>
          <a:p>
            <a:pPr>
              <a:lnSpc>
                <a:spcPct val="90000"/>
              </a:lnSpc>
              <a:spcBef>
                <a:spcPct val="20000"/>
              </a:spcBef>
              <a:buSzPct val="80000"/>
            </a:pPr>
            <a:r>
              <a:rPr lang="en-US" sz="2000" dirty="0">
                <a:solidFill>
                  <a:schemeClr val="accent2">
                    <a:alpha val="99000"/>
                  </a:schemeClr>
                </a:solidFill>
              </a:rPr>
              <a:t>Endpoin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a:gradFill>
                  <a:gsLst>
                    <a:gs pos="0">
                      <a:srgbClr val="595959"/>
                    </a:gs>
                    <a:gs pos="86000">
                      <a:srgbClr val="595959"/>
                    </a:gs>
                  </a:gsLst>
                  <a:lin ang="5400000" scaled="0"/>
                </a:gradFill>
              </a:rPr>
              <a:t>Name</a:t>
            </a:r>
          </a:p>
        </p:txBody>
      </p:sp>
      <p:grpSp>
        <p:nvGrpSpPr>
          <p:cNvPr id="75" name="Group 74"/>
          <p:cNvGrpSpPr/>
          <p:nvPr/>
        </p:nvGrpSpPr>
        <p:grpSpPr>
          <a:xfrm>
            <a:off x="5072532" y="2991489"/>
            <a:ext cx="959750" cy="571767"/>
            <a:chOff x="664614" y="2640917"/>
            <a:chExt cx="2072367" cy="1538525"/>
          </a:xfrm>
        </p:grpSpPr>
        <p:sp>
          <p:nvSpPr>
            <p:cNvPr id="76" name="Right Arrow 75"/>
            <p:cNvSpPr/>
            <p:nvPr/>
          </p:nvSpPr>
          <p:spPr bwMode="auto">
            <a:xfrm>
              <a:off x="768453" y="3539362"/>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77" name="Rectangle 76"/>
            <p:cNvSpPr/>
            <p:nvPr/>
          </p:nvSpPr>
          <p:spPr bwMode="auto">
            <a:xfrm>
              <a:off x="664614" y="2640917"/>
              <a:ext cx="2072367" cy="82816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3389</a:t>
              </a:r>
            </a:p>
          </p:txBody>
        </p:sp>
      </p:grpSp>
    </p:spTree>
    <p:extLst>
      <p:ext uri="{BB962C8B-B14F-4D97-AF65-F5344CB8AC3E}">
        <p14:creationId xmlns:p14="http://schemas.microsoft.com/office/powerpoint/2010/main" val="250486715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d Set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57289" y="4097429"/>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60476"/>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LBHTTP</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74731" y="1562344"/>
            <a:ext cx="2672163" cy="2409890"/>
          </a:xfrm>
          <a:prstGeom prst="rect">
            <a:avLst/>
          </a:prstGeom>
          <a:noFill/>
        </p:spPr>
        <p:txBody>
          <a:bodyPr wrap="square" lIns="0" tIns="0" rIns="0" bIns="0" rtlCol="0">
            <a:spAutoFit/>
          </a:bodyPr>
          <a:lstStyle/>
          <a:p>
            <a:pPr>
              <a:lnSpc>
                <a:spcPct val="90000"/>
              </a:lnSpc>
              <a:spcBef>
                <a:spcPct val="20000"/>
              </a:spcBef>
              <a:buSzPct val="80000"/>
            </a:pPr>
            <a:r>
              <a:rPr lang="en-US" sz="2000" dirty="0">
                <a:solidFill>
                  <a:schemeClr val="accent2">
                    <a:alpha val="99000"/>
                  </a:schemeClr>
                </a:solidFill>
              </a:rPr>
              <a:t>Endpoint Set</a:t>
            </a:r>
          </a:p>
          <a:p>
            <a:pPr>
              <a:lnSpc>
                <a:spcPct val="90000"/>
              </a:lnSpc>
              <a:spcBef>
                <a:spcPct val="20000"/>
              </a:spcBef>
              <a:buSzPct val="80000"/>
            </a:pPr>
            <a:r>
              <a:rPr lang="en-US" dirty="0">
                <a:gradFill>
                  <a:gsLst>
                    <a:gs pos="0">
                      <a:srgbClr val="595959"/>
                    </a:gs>
                    <a:gs pos="86000">
                      <a:srgbClr val="595959"/>
                    </a:gs>
                  </a:gsLst>
                  <a:lin ang="5400000" scaled="0"/>
                </a:gradFill>
              </a:rPr>
              <a:t>Public Port</a:t>
            </a:r>
          </a:p>
          <a:p>
            <a:pPr>
              <a:lnSpc>
                <a:spcPct val="90000"/>
              </a:lnSpc>
              <a:spcBef>
                <a:spcPct val="20000"/>
              </a:spcBef>
              <a:buSzPct val="80000"/>
            </a:pPr>
            <a:r>
              <a:rPr lang="en-US" dirty="0">
                <a:gradFill>
                  <a:gsLst>
                    <a:gs pos="0">
                      <a:srgbClr val="595959"/>
                    </a:gs>
                    <a:gs pos="86000">
                      <a:srgbClr val="595959"/>
                    </a:gs>
                  </a:gsLst>
                  <a:lin ang="5400000" scaled="0"/>
                </a:gradFill>
              </a:rPr>
              <a:t>Local Port</a:t>
            </a:r>
          </a:p>
          <a:p>
            <a:pPr>
              <a:lnSpc>
                <a:spcPct val="90000"/>
              </a:lnSpc>
              <a:spcBef>
                <a:spcPct val="20000"/>
              </a:spcBef>
              <a:buSzPct val="80000"/>
            </a:pPr>
            <a:r>
              <a:rPr lang="en-US" dirty="0">
                <a:gradFill>
                  <a:gsLst>
                    <a:gs pos="0">
                      <a:srgbClr val="595959"/>
                    </a:gs>
                    <a:gs pos="86000">
                      <a:srgbClr val="595959"/>
                    </a:gs>
                  </a:gsLst>
                  <a:lin ang="5400000" scaled="0"/>
                </a:gradFill>
              </a:rPr>
              <a:t>Protocol (TCP/UDP)</a:t>
            </a:r>
          </a:p>
          <a:p>
            <a:pPr>
              <a:lnSpc>
                <a:spcPct val="90000"/>
              </a:lnSpc>
              <a:spcBef>
                <a:spcPct val="20000"/>
              </a:spcBef>
              <a:buSzPct val="80000"/>
            </a:pPr>
            <a:r>
              <a:rPr lang="en-US" dirty="0" smtClean="0">
                <a:gradFill>
                  <a:gsLst>
                    <a:gs pos="0">
                      <a:srgbClr val="595959"/>
                    </a:gs>
                    <a:gs pos="86000">
                      <a:srgbClr val="595959"/>
                    </a:gs>
                  </a:gsLst>
                  <a:lin ang="5400000" scaled="0"/>
                </a:gradFill>
              </a:rPr>
              <a:t>Name</a:t>
            </a:r>
          </a:p>
          <a:p>
            <a:pPr>
              <a:lnSpc>
                <a:spcPct val="90000"/>
              </a:lnSpc>
              <a:spcBef>
                <a:spcPct val="20000"/>
              </a:spcBef>
              <a:buSzPct val="80000"/>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286265261"/>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indows Azure Virtual Machines</a:t>
            </a:r>
            <a:endParaRPr lang="en-US" dirty="0"/>
          </a:p>
        </p:txBody>
      </p:sp>
      <p:sp>
        <p:nvSpPr>
          <p:cNvPr id="30" name="Rectangle 29"/>
          <p:cNvSpPr/>
          <p:nvPr/>
        </p:nvSpPr>
        <p:spPr bwMode="auto">
          <a:xfrm>
            <a:off x="828314" y="1505626"/>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2" y="1505626"/>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Support for key server applications</a:t>
            </a:r>
          </a:p>
        </p:txBody>
      </p:sp>
      <p:sp>
        <p:nvSpPr>
          <p:cNvPr id="33" name="Rectangle 32"/>
          <p:cNvSpPr/>
          <p:nvPr/>
        </p:nvSpPr>
        <p:spPr bwMode="auto">
          <a:xfrm>
            <a:off x="828314" y="2074840"/>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2" y="2074840"/>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Easy storage manageability</a:t>
            </a:r>
          </a:p>
        </p:txBody>
      </p:sp>
      <p:sp>
        <p:nvSpPr>
          <p:cNvPr id="36" name="Rectangle 35"/>
          <p:cNvSpPr/>
          <p:nvPr/>
        </p:nvSpPr>
        <p:spPr bwMode="auto">
          <a:xfrm>
            <a:off x="828314" y="2644054"/>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2" y="2644054"/>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High availability features</a:t>
            </a:r>
          </a:p>
        </p:txBody>
      </p:sp>
      <p:sp>
        <p:nvSpPr>
          <p:cNvPr id="41" name="Rectangle 40"/>
          <p:cNvSpPr/>
          <p:nvPr/>
        </p:nvSpPr>
        <p:spPr bwMode="auto">
          <a:xfrm>
            <a:off x="828314" y="3213268"/>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2" y="3213268"/>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Advanced networking</a:t>
            </a:r>
          </a:p>
        </p:txBody>
      </p:sp>
      <p:sp>
        <p:nvSpPr>
          <p:cNvPr id="44" name="Rectangle 43"/>
          <p:cNvSpPr/>
          <p:nvPr/>
        </p:nvSpPr>
        <p:spPr bwMode="auto">
          <a:xfrm>
            <a:off x="828314" y="3782481"/>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2" y="3782481"/>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Integration with compute </a:t>
            </a:r>
            <a:r>
              <a:rPr lang="en-US" sz="2000" dirty="0" err="1">
                <a:solidFill>
                  <a:schemeClr val="bg1">
                    <a:alpha val="99000"/>
                  </a:schemeClr>
                </a:solidFill>
              </a:rPr>
              <a:t>PaaS</a:t>
            </a:r>
            <a:endParaRPr lang="en-US" sz="2000" dirty="0">
              <a:solidFill>
                <a:schemeClr val="bg1">
                  <a:alpha val="99000"/>
                </a:schemeClr>
              </a:solidFill>
            </a:endParaRPr>
          </a:p>
        </p:txBody>
      </p:sp>
      <p:sp>
        <p:nvSpPr>
          <p:cNvPr id="48" name="Freeform 79"/>
          <p:cNvSpPr>
            <a:spLocks noEditPoints="1"/>
          </p:cNvSpPr>
          <p:nvPr/>
        </p:nvSpPr>
        <p:spPr bwMode="black">
          <a:xfrm>
            <a:off x="971060" y="2173319"/>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9" name="Freeform 73"/>
          <p:cNvSpPr>
            <a:spLocks noEditPoints="1"/>
          </p:cNvSpPr>
          <p:nvPr/>
        </p:nvSpPr>
        <p:spPr bwMode="black">
          <a:xfrm>
            <a:off x="913874" y="3309068"/>
            <a:ext cx="349066" cy="33697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Freeform 80"/>
          <p:cNvSpPr>
            <a:spLocks noEditPoints="1"/>
          </p:cNvSpPr>
          <p:nvPr/>
        </p:nvSpPr>
        <p:spPr bwMode="black">
          <a:xfrm>
            <a:off x="940769" y="1579682"/>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1" name="Freeform 24"/>
          <p:cNvSpPr>
            <a:spLocks noEditPoints="1"/>
          </p:cNvSpPr>
          <p:nvPr/>
        </p:nvSpPr>
        <p:spPr bwMode="black">
          <a:xfrm>
            <a:off x="919068" y="3904538"/>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
          <p:cNvSpPr>
            <a:spLocks noEditPoints="1"/>
          </p:cNvSpPr>
          <p:nvPr/>
        </p:nvSpPr>
        <p:spPr bwMode="black">
          <a:xfrm>
            <a:off x="889963" y="2740682"/>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2646313444"/>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ad Balancer Custom Probes</a:t>
            </a:r>
            <a:endParaRPr lang="en-US" dirty="0"/>
          </a:p>
        </p:txBody>
      </p:sp>
      <p:sp>
        <p:nvSpPr>
          <p:cNvPr id="32" name="Rectangle 31"/>
          <p:cNvSpPr/>
          <p:nvPr/>
        </p:nvSpPr>
        <p:spPr bwMode="auto">
          <a:xfrm>
            <a:off x="5351233" y="1158497"/>
            <a:ext cx="1920740" cy="3454443"/>
          </a:xfrm>
          <a:prstGeom prst="rect">
            <a:avLst/>
          </a:prstGeom>
          <a:noFill/>
          <a:ln w="47625">
            <a:solidFill>
              <a:schemeClr val="accent2"/>
            </a:solidFill>
            <a:prstDash val="sysDash"/>
            <a:headEnd type="none" w="med" len="med"/>
            <a:tailEnd type="none" w="med" len="med"/>
          </a:ln>
          <a:effectLst>
            <a:innerShdw blurRad="127000" dir="11220000">
              <a:prstClr val="black">
                <a:alpha val="50000"/>
              </a:prstClr>
            </a:innerShdw>
          </a:effectLst>
          <a:scene3d>
            <a:camera prst="orthographicFront">
              <a:rot lat="0" lon="0" rev="0"/>
            </a:camera>
            <a:lightRig rig="threePt" dir="tl"/>
          </a:scene3d>
          <a:sp3d prstMaterial="matte"/>
        </p:spPr>
        <p:style>
          <a:lnRef idx="0">
            <a:schemeClr val="accent1"/>
          </a:lnRef>
          <a:fillRef idx="3">
            <a:schemeClr val="accent1"/>
          </a:fillRef>
          <a:effectRef idx="3">
            <a:schemeClr val="accent1"/>
          </a:effectRef>
          <a:fontRef idx="minor">
            <a:schemeClr val="lt1"/>
          </a:fontRef>
        </p:style>
        <p:txBody>
          <a:bodyPr vert="horz" wrap="square" lIns="34286" tIns="34285" rIns="34286" bIns="34285" numCol="1" rtlCol="0" anchor="t" anchorCtr="0" compatLnSpc="1">
            <a:prstTxWarp prst="textNoShape">
              <a:avLst/>
            </a:prstTxWarp>
          </a:bodyPr>
          <a:lstStyle/>
          <a:p>
            <a:pPr algn="ctr" defTabSz="685495"/>
            <a:r>
              <a:rPr lang="en-US" sz="2100" spc="-38" dirty="0">
                <a:ln>
                  <a:solidFill>
                    <a:schemeClr val="bg1">
                      <a:alpha val="0"/>
                    </a:schemeClr>
                  </a:solidFill>
                </a:ln>
                <a:solidFill>
                  <a:srgbClr val="595959">
                    <a:alpha val="99000"/>
                  </a:srgbClr>
                </a:solidFill>
              </a:rPr>
              <a:t>Cloud App</a:t>
            </a:r>
          </a:p>
        </p:txBody>
      </p:sp>
      <p:grpSp>
        <p:nvGrpSpPr>
          <p:cNvPr id="33" name="Group 32"/>
          <p:cNvGrpSpPr/>
          <p:nvPr/>
        </p:nvGrpSpPr>
        <p:grpSpPr>
          <a:xfrm>
            <a:off x="5557027" y="1650826"/>
            <a:ext cx="1509153" cy="685800"/>
            <a:chOff x="8820127" y="2624961"/>
            <a:chExt cx="2011680" cy="914400"/>
          </a:xfrm>
        </p:grpSpPr>
        <p:sp>
          <p:nvSpPr>
            <p:cNvPr id="34" name="Rectangle 33"/>
            <p:cNvSpPr/>
            <p:nvPr/>
          </p:nvSpPr>
          <p:spPr bwMode="auto">
            <a:xfrm>
              <a:off x="8820127" y="2624961"/>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5" name="Rectangle 34"/>
            <p:cNvSpPr/>
            <p:nvPr/>
          </p:nvSpPr>
          <p:spPr bwMode="auto">
            <a:xfrm>
              <a:off x="8957287" y="2763879"/>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1</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grpSp>
        <p:nvGrpSpPr>
          <p:cNvPr id="36" name="Group 35"/>
          <p:cNvGrpSpPr/>
          <p:nvPr/>
        </p:nvGrpSpPr>
        <p:grpSpPr>
          <a:xfrm>
            <a:off x="5557026" y="2662546"/>
            <a:ext cx="1509153" cy="685800"/>
            <a:chOff x="8820126" y="3915780"/>
            <a:chExt cx="2011680" cy="914400"/>
          </a:xfrm>
        </p:grpSpPr>
        <p:sp>
          <p:nvSpPr>
            <p:cNvPr id="37" name="Rectangle 36"/>
            <p:cNvSpPr/>
            <p:nvPr/>
          </p:nvSpPr>
          <p:spPr bwMode="auto">
            <a:xfrm>
              <a:off x="8820126" y="3915780"/>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38" name="Rectangle 37"/>
            <p:cNvSpPr/>
            <p:nvPr/>
          </p:nvSpPr>
          <p:spPr bwMode="auto">
            <a:xfrm>
              <a:off x="8974079" y="4076641"/>
              <a:ext cx="1737359"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2</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endParaRPr lang="en-US" sz="2400" dirty="0">
                <a:ln>
                  <a:solidFill>
                    <a:schemeClr val="bg1">
                      <a:alpha val="0"/>
                    </a:schemeClr>
                  </a:solidFill>
                </a:ln>
                <a:solidFill>
                  <a:schemeClr val="bg1">
                    <a:alpha val="99000"/>
                  </a:schemeClr>
                </a:solidFill>
              </a:endParaRPr>
            </a:p>
          </p:txBody>
        </p:sp>
      </p:grpSp>
      <p:grpSp>
        <p:nvGrpSpPr>
          <p:cNvPr id="39" name="Group 38"/>
          <p:cNvGrpSpPr/>
          <p:nvPr/>
        </p:nvGrpSpPr>
        <p:grpSpPr>
          <a:xfrm>
            <a:off x="5557027" y="3620907"/>
            <a:ext cx="1509153" cy="685800"/>
            <a:chOff x="8820127" y="4800893"/>
            <a:chExt cx="2011680" cy="914400"/>
          </a:xfrm>
        </p:grpSpPr>
        <p:sp>
          <p:nvSpPr>
            <p:cNvPr id="40" name="Rectangle 39"/>
            <p:cNvSpPr/>
            <p:nvPr/>
          </p:nvSpPr>
          <p:spPr bwMode="auto">
            <a:xfrm>
              <a:off x="8820127" y="4800893"/>
              <a:ext cx="2011680" cy="914400"/>
            </a:xfrm>
            <a:prstGeom prst="rect">
              <a:avLst/>
            </a:prstGeom>
            <a:solidFill>
              <a:schemeClr val="accent2"/>
            </a:solidFill>
            <a:ln>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89980" tIns="44991" rIns="89980" bIns="44991" numCol="1" rtlCol="0" anchor="ctr" anchorCtr="0" compatLnSpc="1">
              <a:prstTxWarp prst="textNoShape">
                <a:avLst/>
              </a:prstTxWarp>
            </a:bodyPr>
            <a:lstStyle/>
            <a:p>
              <a:pPr algn="ctr" defTabSz="674583" fontAlgn="base">
                <a:spcBef>
                  <a:spcPct val="0"/>
                </a:spcBef>
                <a:spcAft>
                  <a:spcPct val="0"/>
                </a:spcAft>
              </a:pPr>
              <a:endParaRPr lang="en-US" dirty="0">
                <a:ln>
                  <a:solidFill>
                    <a:schemeClr val="bg1">
                      <a:alpha val="0"/>
                    </a:schemeClr>
                  </a:solidFill>
                </a:ln>
                <a:solidFill>
                  <a:srgbClr val="FFFFFF"/>
                </a:solidFill>
              </a:endParaRPr>
            </a:p>
          </p:txBody>
        </p:sp>
        <p:sp>
          <p:nvSpPr>
            <p:cNvPr id="41" name="Rectangle 40"/>
            <p:cNvSpPr/>
            <p:nvPr/>
          </p:nvSpPr>
          <p:spPr bwMode="auto">
            <a:xfrm>
              <a:off x="8957287" y="4939811"/>
              <a:ext cx="1737360" cy="640080"/>
            </a:xfrm>
            <a:prstGeom prst="rect">
              <a:avLst/>
            </a:prstGeom>
            <a:noFill/>
            <a:ln w="19050">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18" rIns="0" bIns="45718" numCol="1" rtlCol="0" anchor="ctr" anchorCtr="0" compatLnSpc="1">
              <a:prstTxWarp prst="textNoShape">
                <a:avLst/>
              </a:prstTxWarp>
            </a:bodyPr>
            <a:lstStyle/>
            <a:p>
              <a:pPr algn="ctr" defTabSz="685495" fontAlgn="base">
                <a:spcBef>
                  <a:spcPct val="0"/>
                </a:spcBef>
                <a:spcAft>
                  <a:spcPct val="0"/>
                </a:spcAft>
              </a:pPr>
              <a:r>
                <a:rPr lang="en-US" sz="2400" dirty="0">
                  <a:ln>
                    <a:solidFill>
                      <a:schemeClr val="bg1">
                        <a:alpha val="0"/>
                      </a:schemeClr>
                    </a:solidFill>
                  </a:ln>
                  <a:solidFill>
                    <a:schemeClr val="bg1">
                      <a:alpha val="99000"/>
                    </a:schemeClr>
                  </a:solidFill>
                </a:rPr>
                <a:t>VM3</a:t>
              </a:r>
            </a:p>
            <a:p>
              <a:pPr algn="ctr" defTabSz="685495" fontAlgn="base">
                <a:spcBef>
                  <a:spcPct val="0"/>
                </a:spcBef>
                <a:spcAft>
                  <a:spcPct val="0"/>
                </a:spcAft>
              </a:pPr>
              <a:r>
                <a:rPr lang="en-US" sz="1100" dirty="0">
                  <a:ln>
                    <a:solidFill>
                      <a:schemeClr val="bg1">
                        <a:alpha val="0"/>
                      </a:schemeClr>
                    </a:solidFill>
                  </a:ln>
                  <a:solidFill>
                    <a:schemeClr val="bg1">
                      <a:alpha val="99000"/>
                    </a:schemeClr>
                  </a:solidFill>
                </a:rPr>
                <a:t>/healthcheck.aspx</a:t>
              </a:r>
            </a:p>
          </p:txBody>
        </p:sp>
      </p:grpSp>
      <p:sp>
        <p:nvSpPr>
          <p:cNvPr id="42" name="Trapezoid 41"/>
          <p:cNvSpPr/>
          <p:nvPr/>
        </p:nvSpPr>
        <p:spPr bwMode="auto">
          <a:xfrm rot="16200000">
            <a:off x="2963693" y="2557932"/>
            <a:ext cx="3581400" cy="655570"/>
          </a:xfrm>
          <a:prstGeom prst="trapezoid">
            <a:avLst>
              <a:gd name="adj" fmla="val 37559"/>
            </a:avLst>
          </a:prstGeom>
          <a:solidFill>
            <a:schemeClr val="accent2"/>
          </a:solidFill>
          <a:ln>
            <a:noFill/>
            <a:headEnd type="none" w="med" len="med"/>
            <a:tailEnd type="none" w="med" len="med"/>
          </a:ln>
          <a:effectLst/>
        </p:spPr>
        <p:style>
          <a:lnRef idx="1">
            <a:schemeClr val="accent5"/>
          </a:lnRef>
          <a:fillRef idx="3">
            <a:schemeClr val="accent5"/>
          </a:fillRef>
          <a:effectRef idx="2">
            <a:schemeClr val="accent5"/>
          </a:effectRef>
          <a:fontRef idx="minor">
            <a:schemeClr val="lt1"/>
          </a:fontRef>
        </p:style>
        <p:txBody>
          <a:bodyPr vert="vert" wrap="square" lIns="34286" tIns="34285" rIns="34286" bIns="34285" numCol="1" rtlCol="0" anchor="ctr" anchorCtr="0" compatLnSpc="1">
            <a:prstTxWarp prst="textNoShape">
              <a:avLst/>
            </a:prstTxWarp>
          </a:bodyPr>
          <a:lstStyle/>
          <a:p>
            <a:pPr defTabSz="685438" fontAlgn="base">
              <a:spcBef>
                <a:spcPct val="0"/>
              </a:spcBef>
              <a:spcAft>
                <a:spcPct val="0"/>
              </a:spcAft>
            </a:pPr>
            <a:r>
              <a:rPr lang="en-US" sz="2400" spc="-38" dirty="0">
                <a:ln>
                  <a:solidFill>
                    <a:schemeClr val="bg1">
                      <a:alpha val="0"/>
                    </a:schemeClr>
                  </a:solidFill>
                </a:ln>
                <a:solidFill>
                  <a:schemeClr val="bg1">
                    <a:alpha val="99000"/>
                  </a:schemeClr>
                </a:solidFill>
              </a:rPr>
              <a:t>LB</a:t>
            </a:r>
          </a:p>
        </p:txBody>
      </p:sp>
      <p:sp>
        <p:nvSpPr>
          <p:cNvPr id="30" name="TextBox 29"/>
          <p:cNvSpPr txBox="1"/>
          <p:nvPr/>
        </p:nvSpPr>
        <p:spPr>
          <a:xfrm>
            <a:off x="528240" y="908869"/>
            <a:ext cx="2722540" cy="3600986"/>
          </a:xfrm>
          <a:prstGeom prst="rect">
            <a:avLst/>
          </a:prstGeom>
          <a:noFill/>
        </p:spPr>
        <p:txBody>
          <a:bodyPr wrap="none" lIns="0" tIns="0" rIns="0" bIns="0" rtlCol="0">
            <a:spAutoFit/>
          </a:bodyPr>
          <a:lstStyle/>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a:lnSpc>
                <a:spcPct val="90000"/>
              </a:lnSpc>
              <a:spcBef>
                <a:spcPct val="20000"/>
              </a:spcBef>
              <a:buSzPct val="80000"/>
            </a:pPr>
            <a:r>
              <a:rPr lang="en-US" dirty="0" smtClean="0">
                <a:solidFill>
                  <a:schemeClr val="accent2">
                    <a:alpha val="99000"/>
                  </a:schemeClr>
                </a:solidFill>
              </a:rPr>
              <a:t>Load Balancer Probe</a:t>
            </a:r>
          </a:p>
          <a:p>
            <a:pPr>
              <a:lnSpc>
                <a:spcPct val="90000"/>
              </a:lnSpc>
              <a:spcBef>
                <a:spcPct val="20000"/>
              </a:spcBef>
              <a:buSzPct val="80000"/>
            </a:pPr>
            <a:r>
              <a:rPr lang="en-US" dirty="0">
                <a:gradFill>
                  <a:gsLst>
                    <a:gs pos="0">
                      <a:srgbClr val="595959"/>
                    </a:gs>
                    <a:gs pos="86000">
                      <a:srgbClr val="595959"/>
                    </a:gs>
                  </a:gsLst>
                  <a:lin ang="5400000" scaled="0"/>
                </a:gradFill>
              </a:rPr>
              <a:t>Set Name</a:t>
            </a:r>
          </a:p>
          <a:p>
            <a:pPr>
              <a:lnSpc>
                <a:spcPct val="90000"/>
              </a:lnSpc>
              <a:spcBef>
                <a:spcPct val="20000"/>
              </a:spcBef>
              <a:buSzPct val="80000"/>
            </a:pPr>
            <a:r>
              <a:rPr lang="en-US" dirty="0" smtClean="0">
                <a:gradFill>
                  <a:gsLst>
                    <a:gs pos="0">
                      <a:srgbClr val="595959"/>
                    </a:gs>
                    <a:gs pos="86000">
                      <a:srgbClr val="595959"/>
                    </a:gs>
                  </a:gsLst>
                  <a:lin ang="5400000" scaled="0"/>
                </a:gradFill>
              </a:rPr>
              <a:t>Probe Protocol (HTTP/TCP</a:t>
            </a:r>
            <a:r>
              <a:rPr lang="en-US" dirty="0">
                <a:gradFill>
                  <a:gsLst>
                    <a:gs pos="0">
                      <a:srgbClr val="595959"/>
                    </a:gs>
                    <a:gs pos="86000">
                      <a:srgbClr val="595959"/>
                    </a:gs>
                  </a:gsLst>
                  <a:lin ang="5400000" scaled="0"/>
                </a:gradFill>
              </a:rPr>
              <a:t>)</a:t>
            </a:r>
          </a:p>
          <a:p>
            <a:pPr>
              <a:lnSpc>
                <a:spcPct val="90000"/>
              </a:lnSpc>
              <a:spcBef>
                <a:spcPct val="20000"/>
              </a:spcBef>
              <a:buSzPct val="80000"/>
            </a:pPr>
            <a:r>
              <a:rPr lang="en-US" dirty="0">
                <a:gradFill>
                  <a:gsLst>
                    <a:gs pos="0">
                      <a:srgbClr val="595959"/>
                    </a:gs>
                    <a:gs pos="86000">
                      <a:srgbClr val="595959"/>
                    </a:gs>
                  </a:gsLst>
                  <a:lin ang="5400000" scaled="0"/>
                </a:gradFill>
              </a:rPr>
              <a:t>Probe Port</a:t>
            </a:r>
          </a:p>
          <a:p>
            <a:pPr>
              <a:lnSpc>
                <a:spcPct val="90000"/>
              </a:lnSpc>
              <a:spcBef>
                <a:spcPct val="20000"/>
              </a:spcBef>
              <a:buSzPct val="80000"/>
            </a:pPr>
            <a:r>
              <a:rPr lang="en-US" dirty="0">
                <a:gradFill>
                  <a:gsLst>
                    <a:gs pos="0">
                      <a:srgbClr val="595959"/>
                    </a:gs>
                    <a:gs pos="86000">
                      <a:srgbClr val="595959"/>
                    </a:gs>
                  </a:gsLst>
                  <a:lin ang="5400000" scaled="0"/>
                </a:gradFill>
              </a:rPr>
              <a:t>Probe </a:t>
            </a:r>
            <a:r>
              <a:rPr lang="en-US" dirty="0" smtClean="0">
                <a:gradFill>
                  <a:gsLst>
                    <a:gs pos="0">
                      <a:srgbClr val="595959"/>
                    </a:gs>
                    <a:gs pos="86000">
                      <a:srgbClr val="595959"/>
                    </a:gs>
                  </a:gsLst>
                  <a:lin ang="5400000" scaled="0"/>
                </a:gradFill>
              </a:rPr>
              <a:t>Path</a:t>
            </a:r>
          </a:p>
          <a:p>
            <a:pPr>
              <a:lnSpc>
                <a:spcPct val="90000"/>
              </a:lnSpc>
              <a:spcBef>
                <a:spcPct val="20000"/>
              </a:spcBef>
              <a:buSzPct val="80000"/>
            </a:pPr>
            <a:r>
              <a:rPr lang="en-US" dirty="0" smtClean="0">
                <a:gradFill>
                  <a:gsLst>
                    <a:gs pos="0">
                      <a:srgbClr val="595959"/>
                    </a:gs>
                    <a:gs pos="86000">
                      <a:srgbClr val="595959"/>
                    </a:gs>
                  </a:gsLst>
                  <a:lin ang="5400000" scaled="0"/>
                </a:gradFill>
              </a:rPr>
              <a:t>(/healthcheck.aspx)</a:t>
            </a:r>
          </a:p>
          <a:p>
            <a:pPr>
              <a:lnSpc>
                <a:spcPct val="90000"/>
              </a:lnSpc>
              <a:spcBef>
                <a:spcPct val="20000"/>
              </a:spcBef>
              <a:buSzPct val="80000"/>
            </a:pPr>
            <a:endParaRPr lang="en-US" dirty="0">
              <a:gradFill>
                <a:gsLst>
                  <a:gs pos="0">
                    <a:srgbClr val="595959"/>
                  </a:gs>
                  <a:gs pos="86000">
                    <a:srgbClr val="595959"/>
                  </a:gs>
                </a:gsLst>
                <a:lin ang="5400000" scaled="0"/>
              </a:gradFill>
            </a:endParaRPr>
          </a:p>
          <a:p>
            <a:pPr>
              <a:lnSpc>
                <a:spcPct val="90000"/>
              </a:lnSpc>
              <a:spcBef>
                <a:spcPct val="20000"/>
              </a:spcBef>
              <a:buSzPct val="80000"/>
            </a:pPr>
            <a:r>
              <a:rPr lang="en-US" dirty="0" smtClean="0">
                <a:solidFill>
                  <a:schemeClr val="accent2"/>
                </a:solidFill>
              </a:rPr>
              <a:t>Looks for HTTP 200</a:t>
            </a:r>
          </a:p>
          <a:p>
            <a:pPr>
              <a:lnSpc>
                <a:spcPct val="90000"/>
              </a:lnSpc>
              <a:spcBef>
                <a:spcPct val="20000"/>
              </a:spcBef>
              <a:buSzPct val="80000"/>
            </a:pPr>
            <a:r>
              <a:rPr lang="en-US" dirty="0" smtClean="0">
                <a:solidFill>
                  <a:schemeClr val="accent2"/>
                </a:solidFill>
              </a:rPr>
              <a:t>(Omit Probe Path for TCP)</a:t>
            </a:r>
            <a:endParaRPr lang="en-US" dirty="0">
              <a:solidFill>
                <a:schemeClr val="accent2"/>
              </a:solidFill>
            </a:endParaRPr>
          </a:p>
          <a:p>
            <a:pPr marL="342811" indent="-342811">
              <a:lnSpc>
                <a:spcPct val="90000"/>
              </a:lnSpc>
              <a:spcBef>
                <a:spcPct val="20000"/>
              </a:spcBef>
              <a:buSzPct val="80000"/>
              <a:buFont typeface="Arial" pitchFamily="34" charset="0"/>
              <a:buChar char="•"/>
            </a:pPr>
            <a:endParaRPr lang="en-US" dirty="0" smtClean="0">
              <a:gradFill>
                <a:gsLst>
                  <a:gs pos="0">
                    <a:srgbClr val="292929">
                      <a:lumMod val="90000"/>
                      <a:lumOff val="10000"/>
                    </a:srgbClr>
                  </a:gs>
                  <a:gs pos="86000">
                    <a:srgbClr val="292929">
                      <a:lumMod val="90000"/>
                      <a:lumOff val="10000"/>
                    </a:srgbClr>
                  </a:gs>
                </a:gsLst>
                <a:lin ang="5400000" scaled="0"/>
              </a:gradFill>
            </a:endParaRPr>
          </a:p>
          <a:p>
            <a:pPr marL="342811" indent="-342811">
              <a:lnSpc>
                <a:spcPct val="90000"/>
              </a:lnSpc>
              <a:spcBef>
                <a:spcPct val="20000"/>
              </a:spcBef>
              <a:buSzPct val="80000"/>
              <a:buFont typeface="Arial" pitchFamily="34" charset="0"/>
              <a:buChar char="•"/>
            </a:pPr>
            <a:endParaRPr lang="en-US" dirty="0">
              <a:gradFill>
                <a:gsLst>
                  <a:gs pos="0">
                    <a:srgbClr val="292929">
                      <a:lumMod val="90000"/>
                      <a:lumOff val="10000"/>
                    </a:srgbClr>
                  </a:gs>
                  <a:gs pos="86000">
                    <a:srgbClr val="292929">
                      <a:lumMod val="90000"/>
                      <a:lumOff val="10000"/>
                    </a:srgbClr>
                  </a:gs>
                </a:gsLst>
                <a:lin ang="5400000" scaled="0"/>
              </a:gradFill>
            </a:endParaRPr>
          </a:p>
        </p:txBody>
      </p:sp>
      <p:grpSp>
        <p:nvGrpSpPr>
          <p:cNvPr id="58" name="Group 57"/>
          <p:cNvGrpSpPr/>
          <p:nvPr/>
        </p:nvGrpSpPr>
        <p:grpSpPr>
          <a:xfrm>
            <a:off x="3436013" y="2479346"/>
            <a:ext cx="889299" cy="559233"/>
            <a:chOff x="768452" y="2674644"/>
            <a:chExt cx="1920240" cy="1504797"/>
          </a:xfrm>
        </p:grpSpPr>
        <p:sp>
          <p:nvSpPr>
            <p:cNvPr id="59" name="Right Arrow 58"/>
            <p:cNvSpPr/>
            <p:nvPr/>
          </p:nvSpPr>
          <p:spPr bwMode="auto">
            <a:xfrm>
              <a:off x="768452" y="3539361"/>
              <a:ext cx="1920240" cy="640080"/>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60" name="Rectangle 59"/>
            <p:cNvSpPr/>
            <p:nvPr/>
          </p:nvSpPr>
          <p:spPr bwMode="auto">
            <a:xfrm>
              <a:off x="938896" y="2674644"/>
              <a:ext cx="1657005" cy="82816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45720" tIns="45718" rIns="45720" bIns="45718" numCol="1" rtlCol="0" anchor="ctr" anchorCtr="0" compatLnSpc="1">
              <a:prstTxWarp prst="textNoShape">
                <a:avLst/>
              </a:prstTxWarp>
              <a:spAutoFit/>
            </a:bodyPr>
            <a:lstStyle/>
            <a:p>
              <a:pPr algn="ctr" defTabSz="685495" fontAlgn="base">
                <a:spcBef>
                  <a:spcPct val="0"/>
                </a:spcBef>
                <a:spcAft>
                  <a:spcPct val="0"/>
                </a:spcAft>
              </a:pPr>
              <a:r>
                <a:rPr lang="en-US" sz="1400" dirty="0">
                  <a:ln>
                    <a:solidFill>
                      <a:schemeClr val="bg1">
                        <a:alpha val="0"/>
                      </a:schemeClr>
                    </a:solidFill>
                  </a:ln>
                  <a:solidFill>
                    <a:srgbClr val="595959">
                      <a:alpha val="99000"/>
                    </a:srgbClr>
                  </a:solidFill>
                </a:rPr>
                <a:t>PORT 80</a:t>
              </a:r>
            </a:p>
          </p:txBody>
        </p:sp>
      </p:grpSp>
      <p:sp>
        <p:nvSpPr>
          <p:cNvPr id="26" name="Right Arrow 25"/>
          <p:cNvSpPr/>
          <p:nvPr/>
        </p:nvSpPr>
        <p:spPr bwMode="auto">
          <a:xfrm rot="19275685">
            <a:off x="4969789" y="2363243"/>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8" name="Right Arrow 27"/>
          <p:cNvSpPr/>
          <p:nvPr/>
        </p:nvSpPr>
        <p:spPr bwMode="auto">
          <a:xfrm>
            <a:off x="4985811" y="2886516"/>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
        <p:nvSpPr>
          <p:cNvPr id="29" name="Right Arrow 28"/>
          <p:cNvSpPr/>
          <p:nvPr/>
        </p:nvSpPr>
        <p:spPr bwMode="auto">
          <a:xfrm rot="2518972">
            <a:off x="4977246" y="3413924"/>
            <a:ext cx="686713" cy="237875"/>
          </a:xfrm>
          <a:prstGeom prst="rightArrow">
            <a:avLst/>
          </a:prstGeom>
          <a:solidFill>
            <a:schemeClr val="bg2">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685495" fontAlgn="base">
              <a:spcBef>
                <a:spcPct val="0"/>
              </a:spcBef>
              <a:spcAft>
                <a:spcPct val="0"/>
              </a:spcAft>
            </a:pPr>
            <a:endParaRPr lang="en-US" sz="1700" dirty="0">
              <a:ln>
                <a:solidFill>
                  <a:schemeClr val="bg1">
                    <a:alpha val="0"/>
                  </a:schemeClr>
                </a:solidFill>
              </a:ln>
              <a:solidFill>
                <a:schemeClr val="tx1">
                  <a:lumMod val="75000"/>
                  <a:lumOff val="25000"/>
                </a:schemeClr>
              </a:solidFill>
            </a:endParaRPr>
          </a:p>
        </p:txBody>
      </p:sp>
    </p:spTree>
    <p:extLst>
      <p:ext uri="{BB962C8B-B14F-4D97-AF65-F5344CB8AC3E}">
        <p14:creationId xmlns:p14="http://schemas.microsoft.com/office/powerpoint/2010/main" val="941788268"/>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5400" dirty="0"/>
              <a:t>Virtual Machine Availability</a:t>
            </a:r>
          </a:p>
        </p:txBody>
      </p:sp>
    </p:spTree>
    <p:extLst>
      <p:ext uri="{BB962C8B-B14F-4D97-AF65-F5344CB8AC3E}">
        <p14:creationId xmlns:p14="http://schemas.microsoft.com/office/powerpoint/2010/main" val="38530121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rvice Level Agreements	</a:t>
            </a:r>
            <a:endParaRPr lang="en-US" dirty="0"/>
          </a:p>
        </p:txBody>
      </p:sp>
      <p:sp>
        <p:nvSpPr>
          <p:cNvPr id="7" name="Rectangle 6"/>
          <p:cNvSpPr/>
          <p:nvPr/>
        </p:nvSpPr>
        <p:spPr bwMode="auto">
          <a:xfrm>
            <a:off x="389436" y="1118779"/>
            <a:ext cx="8242936" cy="324639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389437" y="1118779"/>
            <a:ext cx="3246393" cy="3246393"/>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4" name="Group 3"/>
          <p:cNvGrpSpPr/>
          <p:nvPr/>
        </p:nvGrpSpPr>
        <p:grpSpPr bwMode="black">
          <a:xfrm>
            <a:off x="971715" y="1691867"/>
            <a:ext cx="2132942" cy="2195277"/>
            <a:chOff x="3422650" y="3467100"/>
            <a:chExt cx="533400" cy="549275"/>
          </a:xfrm>
          <a:solidFill>
            <a:schemeClr val="bg1"/>
          </a:solidFill>
        </p:grpSpPr>
        <p:sp>
          <p:nvSpPr>
            <p:cNvPr id="5" name="Freeform 82"/>
            <p:cNvSpPr>
              <a:spLocks noEditPoints="1"/>
            </p:cNvSpPr>
            <p:nvPr/>
          </p:nvSpPr>
          <p:spPr bwMode="black">
            <a:xfrm>
              <a:off x="3422650" y="3467100"/>
              <a:ext cx="533400" cy="533400"/>
            </a:xfrm>
            <a:custGeom>
              <a:avLst/>
              <a:gdLst>
                <a:gd name="T0" fmla="*/ 590 w 2193"/>
                <a:gd name="T1" fmla="*/ 531 h 2197"/>
                <a:gd name="T2" fmla="*/ 1140 w 2193"/>
                <a:gd name="T3" fmla="*/ 364 h 2197"/>
                <a:gd name="T4" fmla="*/ 1100 w 2193"/>
                <a:gd name="T5" fmla="*/ 435 h 2197"/>
                <a:gd name="T6" fmla="*/ 1066 w 2193"/>
                <a:gd name="T7" fmla="*/ 405 h 2197"/>
                <a:gd name="T8" fmla="*/ 1025 w 2193"/>
                <a:gd name="T9" fmla="*/ 503 h 2197"/>
                <a:gd name="T10" fmla="*/ 951 w 2193"/>
                <a:gd name="T11" fmla="*/ 405 h 2197"/>
                <a:gd name="T12" fmla="*/ 992 w 2193"/>
                <a:gd name="T13" fmla="*/ 503 h 2197"/>
                <a:gd name="T14" fmla="*/ 877 w 2193"/>
                <a:gd name="T15" fmla="*/ 364 h 2197"/>
                <a:gd name="T16" fmla="*/ 917 w 2193"/>
                <a:gd name="T17" fmla="*/ 544 h 2197"/>
                <a:gd name="T18" fmla="*/ 802 w 2193"/>
                <a:gd name="T19" fmla="*/ 435 h 2197"/>
                <a:gd name="T20" fmla="*/ 802 w 2193"/>
                <a:gd name="T21" fmla="*/ 544 h 2197"/>
                <a:gd name="T22" fmla="*/ 768 w 2193"/>
                <a:gd name="T23" fmla="*/ 435 h 2197"/>
                <a:gd name="T24" fmla="*/ 727 w 2193"/>
                <a:gd name="T25" fmla="*/ 503 h 2197"/>
                <a:gd name="T26" fmla="*/ 693 w 2193"/>
                <a:gd name="T27" fmla="*/ 476 h 2197"/>
                <a:gd name="T28" fmla="*/ 655 w 2193"/>
                <a:gd name="T29" fmla="*/ 282 h 2197"/>
                <a:gd name="T30" fmla="*/ 655 w 2193"/>
                <a:gd name="T31" fmla="*/ 282 h 2197"/>
                <a:gd name="T32" fmla="*/ 1140 w 2193"/>
                <a:gd name="T33" fmla="*/ 92 h 2197"/>
                <a:gd name="T34" fmla="*/ 1100 w 2193"/>
                <a:gd name="T35" fmla="*/ 191 h 2197"/>
                <a:gd name="T36" fmla="*/ 1025 w 2193"/>
                <a:gd name="T37" fmla="*/ 92 h 2197"/>
                <a:gd name="T38" fmla="*/ 1066 w 2193"/>
                <a:gd name="T39" fmla="*/ 191 h 2197"/>
                <a:gd name="T40" fmla="*/ 951 w 2193"/>
                <a:gd name="T41" fmla="*/ 52 h 2197"/>
                <a:gd name="T42" fmla="*/ 992 w 2193"/>
                <a:gd name="T43" fmla="*/ 231 h 2197"/>
                <a:gd name="T44" fmla="*/ 877 w 2193"/>
                <a:gd name="T45" fmla="*/ 123 h 2197"/>
                <a:gd name="T46" fmla="*/ 877 w 2193"/>
                <a:gd name="T47" fmla="*/ 231 h 2197"/>
                <a:gd name="T48" fmla="*/ 842 w 2193"/>
                <a:gd name="T49" fmla="*/ 123 h 2197"/>
                <a:gd name="T50" fmla="*/ 802 w 2193"/>
                <a:gd name="T51" fmla="*/ 191 h 2197"/>
                <a:gd name="T52" fmla="*/ 768 w 2193"/>
                <a:gd name="T53" fmla="*/ 163 h 2197"/>
                <a:gd name="T54" fmla="*/ 653 w 2193"/>
                <a:gd name="T55" fmla="*/ 52 h 2197"/>
                <a:gd name="T56" fmla="*/ 653 w 2193"/>
                <a:gd name="T57" fmla="*/ 163 h 2197"/>
                <a:gd name="T58" fmla="*/ 1315 w 2193"/>
                <a:gd name="T59" fmla="*/ 2023 h 2197"/>
                <a:gd name="T60" fmla="*/ 1444 w 2193"/>
                <a:gd name="T61" fmla="*/ 2179 h 2197"/>
                <a:gd name="T62" fmla="*/ 1597 w 2193"/>
                <a:gd name="T63" fmla="*/ 1488 h 2197"/>
                <a:gd name="T64" fmla="*/ 2182 w 2193"/>
                <a:gd name="T65" fmla="*/ 1590 h 2197"/>
                <a:gd name="T66" fmla="*/ 925 w 2193"/>
                <a:gd name="T67" fmla="*/ 1617 h 2197"/>
                <a:gd name="T68" fmla="*/ 1137 w 2193"/>
                <a:gd name="T69" fmla="*/ 1617 h 2197"/>
                <a:gd name="T70" fmla="*/ 2090 w 2193"/>
                <a:gd name="T71" fmla="*/ 1142 h 2197"/>
                <a:gd name="T72" fmla="*/ 1538 w 2193"/>
                <a:gd name="T73" fmla="*/ 908 h 2197"/>
                <a:gd name="T74" fmla="*/ 1043 w 2193"/>
                <a:gd name="T75" fmla="*/ 908 h 2197"/>
                <a:gd name="T76" fmla="*/ 103 w 2193"/>
                <a:gd name="T77" fmla="*/ 1377 h 2197"/>
                <a:gd name="T78" fmla="*/ 1675 w 2193"/>
                <a:gd name="T79" fmla="*/ 1407 h 2197"/>
                <a:gd name="T80" fmla="*/ 1268 w 2193"/>
                <a:gd name="T81" fmla="*/ 1660 h 2197"/>
                <a:gd name="T82" fmla="*/ 1268 w 2193"/>
                <a:gd name="T83" fmla="*/ 1660 h 2197"/>
                <a:gd name="T84" fmla="*/ 1140 w 2193"/>
                <a:gd name="T85" fmla="*/ 788 h 2197"/>
                <a:gd name="T86" fmla="*/ 1025 w 2193"/>
                <a:gd name="T87" fmla="*/ 677 h 2197"/>
                <a:gd name="T88" fmla="*/ 1025 w 2193"/>
                <a:gd name="T89" fmla="*/ 788 h 2197"/>
                <a:gd name="T90" fmla="*/ 653 w 2193"/>
                <a:gd name="T91" fmla="*/ 788 h 2197"/>
                <a:gd name="T92" fmla="*/ 693 w 2193"/>
                <a:gd name="T93" fmla="*/ 717 h 2197"/>
                <a:gd name="T94" fmla="*/ 727 w 2193"/>
                <a:gd name="T95" fmla="*/ 748 h 2197"/>
                <a:gd name="T96" fmla="*/ 842 w 2193"/>
                <a:gd name="T97" fmla="*/ 856 h 2197"/>
                <a:gd name="T98" fmla="*/ 842 w 2193"/>
                <a:gd name="T99" fmla="*/ 748 h 2197"/>
                <a:gd name="T100" fmla="*/ 877 w 2193"/>
                <a:gd name="T101" fmla="*/ 856 h 2197"/>
                <a:gd name="T102" fmla="*/ 917 w 2193"/>
                <a:gd name="T103" fmla="*/ 788 h 2197"/>
                <a:gd name="T104" fmla="*/ 951 w 2193"/>
                <a:gd name="T105" fmla="*/ 816 h 2197"/>
                <a:gd name="T106" fmla="*/ 992 w 2193"/>
                <a:gd name="T107" fmla="*/ 717 h 2197"/>
                <a:gd name="T108" fmla="*/ 1066 w 2193"/>
                <a:gd name="T109" fmla="*/ 856 h 2197"/>
                <a:gd name="T110" fmla="*/ 176 w 2193"/>
                <a:gd name="T111" fmla="*/ 1407 h 2197"/>
                <a:gd name="T112" fmla="*/ 0 w 2193"/>
                <a:gd name="T113" fmla="*/ 1622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193" h="2197">
                  <a:moveTo>
                    <a:pt x="655" y="595"/>
                  </a:moveTo>
                  <a:cubicBezTo>
                    <a:pt x="1538" y="595"/>
                    <a:pt x="1538" y="595"/>
                    <a:pt x="1538" y="595"/>
                  </a:cubicBezTo>
                  <a:cubicBezTo>
                    <a:pt x="1574" y="595"/>
                    <a:pt x="1603" y="566"/>
                    <a:pt x="1603" y="531"/>
                  </a:cubicBezTo>
                  <a:cubicBezTo>
                    <a:pt x="1603" y="377"/>
                    <a:pt x="1603" y="377"/>
                    <a:pt x="1603" y="377"/>
                  </a:cubicBezTo>
                  <a:cubicBezTo>
                    <a:pt x="1603" y="342"/>
                    <a:pt x="1574" y="313"/>
                    <a:pt x="1538" y="313"/>
                  </a:cubicBezTo>
                  <a:cubicBezTo>
                    <a:pt x="655" y="313"/>
                    <a:pt x="655" y="313"/>
                    <a:pt x="655" y="313"/>
                  </a:cubicBezTo>
                  <a:cubicBezTo>
                    <a:pt x="619" y="313"/>
                    <a:pt x="590" y="342"/>
                    <a:pt x="590" y="377"/>
                  </a:cubicBezTo>
                  <a:cubicBezTo>
                    <a:pt x="590" y="531"/>
                    <a:pt x="590" y="531"/>
                    <a:pt x="590" y="531"/>
                  </a:cubicBezTo>
                  <a:cubicBezTo>
                    <a:pt x="590" y="566"/>
                    <a:pt x="619" y="595"/>
                    <a:pt x="655" y="595"/>
                  </a:cubicBezTo>
                  <a:close/>
                  <a:moveTo>
                    <a:pt x="1464" y="403"/>
                  </a:moveTo>
                  <a:cubicBezTo>
                    <a:pt x="1492" y="403"/>
                    <a:pt x="1515" y="426"/>
                    <a:pt x="1515" y="454"/>
                  </a:cubicBezTo>
                  <a:cubicBezTo>
                    <a:pt x="1515" y="482"/>
                    <a:pt x="1492" y="505"/>
                    <a:pt x="1464" y="505"/>
                  </a:cubicBezTo>
                  <a:cubicBezTo>
                    <a:pt x="1436" y="505"/>
                    <a:pt x="1413" y="482"/>
                    <a:pt x="1413" y="454"/>
                  </a:cubicBezTo>
                  <a:cubicBezTo>
                    <a:pt x="1413" y="426"/>
                    <a:pt x="1436" y="403"/>
                    <a:pt x="1464" y="403"/>
                  </a:cubicBezTo>
                  <a:close/>
                  <a:moveTo>
                    <a:pt x="1100" y="364"/>
                  </a:moveTo>
                  <a:cubicBezTo>
                    <a:pt x="1140" y="364"/>
                    <a:pt x="1140" y="364"/>
                    <a:pt x="1140" y="364"/>
                  </a:cubicBezTo>
                  <a:cubicBezTo>
                    <a:pt x="1140" y="405"/>
                    <a:pt x="1140" y="405"/>
                    <a:pt x="1140" y="405"/>
                  </a:cubicBezTo>
                  <a:cubicBezTo>
                    <a:pt x="1100" y="405"/>
                    <a:pt x="1100" y="405"/>
                    <a:pt x="1100" y="405"/>
                  </a:cubicBezTo>
                  <a:lnTo>
                    <a:pt x="1100" y="364"/>
                  </a:lnTo>
                  <a:close/>
                  <a:moveTo>
                    <a:pt x="1100" y="435"/>
                  </a:moveTo>
                  <a:cubicBezTo>
                    <a:pt x="1140" y="435"/>
                    <a:pt x="1140" y="435"/>
                    <a:pt x="1140" y="435"/>
                  </a:cubicBezTo>
                  <a:cubicBezTo>
                    <a:pt x="1140" y="476"/>
                    <a:pt x="1140" y="476"/>
                    <a:pt x="1140" y="476"/>
                  </a:cubicBezTo>
                  <a:cubicBezTo>
                    <a:pt x="1100" y="476"/>
                    <a:pt x="1100" y="476"/>
                    <a:pt x="1100" y="476"/>
                  </a:cubicBezTo>
                  <a:lnTo>
                    <a:pt x="1100" y="435"/>
                  </a:lnTo>
                  <a:close/>
                  <a:moveTo>
                    <a:pt x="1100" y="503"/>
                  </a:moveTo>
                  <a:cubicBezTo>
                    <a:pt x="1140" y="503"/>
                    <a:pt x="1140" y="503"/>
                    <a:pt x="1140" y="503"/>
                  </a:cubicBezTo>
                  <a:cubicBezTo>
                    <a:pt x="1140" y="544"/>
                    <a:pt x="1140" y="544"/>
                    <a:pt x="1140" y="544"/>
                  </a:cubicBezTo>
                  <a:cubicBezTo>
                    <a:pt x="1100" y="544"/>
                    <a:pt x="1100" y="544"/>
                    <a:pt x="1100" y="544"/>
                  </a:cubicBezTo>
                  <a:lnTo>
                    <a:pt x="1100" y="503"/>
                  </a:lnTo>
                  <a:close/>
                  <a:moveTo>
                    <a:pt x="1025" y="364"/>
                  </a:moveTo>
                  <a:cubicBezTo>
                    <a:pt x="1066" y="364"/>
                    <a:pt x="1066" y="364"/>
                    <a:pt x="1066" y="364"/>
                  </a:cubicBezTo>
                  <a:cubicBezTo>
                    <a:pt x="1066" y="405"/>
                    <a:pt x="1066" y="405"/>
                    <a:pt x="1066" y="405"/>
                  </a:cubicBezTo>
                  <a:cubicBezTo>
                    <a:pt x="1025" y="405"/>
                    <a:pt x="1025" y="405"/>
                    <a:pt x="1025" y="405"/>
                  </a:cubicBezTo>
                  <a:lnTo>
                    <a:pt x="1025" y="364"/>
                  </a:lnTo>
                  <a:close/>
                  <a:moveTo>
                    <a:pt x="1025" y="435"/>
                  </a:moveTo>
                  <a:cubicBezTo>
                    <a:pt x="1066" y="435"/>
                    <a:pt x="1066" y="435"/>
                    <a:pt x="1066" y="435"/>
                  </a:cubicBezTo>
                  <a:cubicBezTo>
                    <a:pt x="1066" y="476"/>
                    <a:pt x="1066" y="476"/>
                    <a:pt x="1066" y="476"/>
                  </a:cubicBezTo>
                  <a:cubicBezTo>
                    <a:pt x="1025" y="476"/>
                    <a:pt x="1025" y="476"/>
                    <a:pt x="1025" y="476"/>
                  </a:cubicBezTo>
                  <a:lnTo>
                    <a:pt x="1025" y="435"/>
                  </a:lnTo>
                  <a:close/>
                  <a:moveTo>
                    <a:pt x="1025" y="503"/>
                  </a:moveTo>
                  <a:cubicBezTo>
                    <a:pt x="1066" y="503"/>
                    <a:pt x="1066" y="503"/>
                    <a:pt x="1066" y="503"/>
                  </a:cubicBezTo>
                  <a:cubicBezTo>
                    <a:pt x="1066" y="544"/>
                    <a:pt x="1066" y="544"/>
                    <a:pt x="1066" y="544"/>
                  </a:cubicBezTo>
                  <a:cubicBezTo>
                    <a:pt x="1025" y="544"/>
                    <a:pt x="1025" y="544"/>
                    <a:pt x="1025" y="544"/>
                  </a:cubicBezTo>
                  <a:lnTo>
                    <a:pt x="1025" y="503"/>
                  </a:lnTo>
                  <a:close/>
                  <a:moveTo>
                    <a:pt x="951" y="364"/>
                  </a:moveTo>
                  <a:cubicBezTo>
                    <a:pt x="992" y="364"/>
                    <a:pt x="992" y="364"/>
                    <a:pt x="992" y="364"/>
                  </a:cubicBezTo>
                  <a:cubicBezTo>
                    <a:pt x="992" y="405"/>
                    <a:pt x="992" y="405"/>
                    <a:pt x="992" y="405"/>
                  </a:cubicBezTo>
                  <a:cubicBezTo>
                    <a:pt x="951" y="405"/>
                    <a:pt x="951" y="405"/>
                    <a:pt x="951" y="405"/>
                  </a:cubicBezTo>
                  <a:lnTo>
                    <a:pt x="951" y="364"/>
                  </a:lnTo>
                  <a:close/>
                  <a:moveTo>
                    <a:pt x="951" y="435"/>
                  </a:moveTo>
                  <a:cubicBezTo>
                    <a:pt x="992" y="435"/>
                    <a:pt x="992" y="435"/>
                    <a:pt x="992" y="435"/>
                  </a:cubicBezTo>
                  <a:cubicBezTo>
                    <a:pt x="992" y="476"/>
                    <a:pt x="992" y="476"/>
                    <a:pt x="992" y="476"/>
                  </a:cubicBezTo>
                  <a:cubicBezTo>
                    <a:pt x="951" y="476"/>
                    <a:pt x="951" y="476"/>
                    <a:pt x="951" y="476"/>
                  </a:cubicBezTo>
                  <a:lnTo>
                    <a:pt x="951" y="435"/>
                  </a:lnTo>
                  <a:close/>
                  <a:moveTo>
                    <a:pt x="951" y="503"/>
                  </a:moveTo>
                  <a:cubicBezTo>
                    <a:pt x="992" y="503"/>
                    <a:pt x="992" y="503"/>
                    <a:pt x="992" y="503"/>
                  </a:cubicBezTo>
                  <a:cubicBezTo>
                    <a:pt x="992" y="544"/>
                    <a:pt x="992" y="544"/>
                    <a:pt x="992" y="544"/>
                  </a:cubicBezTo>
                  <a:cubicBezTo>
                    <a:pt x="951" y="544"/>
                    <a:pt x="951" y="544"/>
                    <a:pt x="951" y="544"/>
                  </a:cubicBezTo>
                  <a:lnTo>
                    <a:pt x="951" y="503"/>
                  </a:lnTo>
                  <a:close/>
                  <a:moveTo>
                    <a:pt x="877" y="364"/>
                  </a:moveTo>
                  <a:cubicBezTo>
                    <a:pt x="917" y="364"/>
                    <a:pt x="917" y="364"/>
                    <a:pt x="917" y="364"/>
                  </a:cubicBezTo>
                  <a:cubicBezTo>
                    <a:pt x="917" y="405"/>
                    <a:pt x="917" y="405"/>
                    <a:pt x="917" y="405"/>
                  </a:cubicBezTo>
                  <a:cubicBezTo>
                    <a:pt x="877" y="405"/>
                    <a:pt x="877" y="405"/>
                    <a:pt x="877" y="405"/>
                  </a:cubicBezTo>
                  <a:lnTo>
                    <a:pt x="877" y="364"/>
                  </a:lnTo>
                  <a:close/>
                  <a:moveTo>
                    <a:pt x="877" y="435"/>
                  </a:moveTo>
                  <a:cubicBezTo>
                    <a:pt x="917" y="435"/>
                    <a:pt x="917" y="435"/>
                    <a:pt x="917" y="435"/>
                  </a:cubicBezTo>
                  <a:cubicBezTo>
                    <a:pt x="917" y="476"/>
                    <a:pt x="917" y="476"/>
                    <a:pt x="917" y="476"/>
                  </a:cubicBezTo>
                  <a:cubicBezTo>
                    <a:pt x="877" y="476"/>
                    <a:pt x="877" y="476"/>
                    <a:pt x="877" y="476"/>
                  </a:cubicBezTo>
                  <a:lnTo>
                    <a:pt x="877" y="435"/>
                  </a:lnTo>
                  <a:close/>
                  <a:moveTo>
                    <a:pt x="877" y="503"/>
                  </a:moveTo>
                  <a:cubicBezTo>
                    <a:pt x="917" y="503"/>
                    <a:pt x="917" y="503"/>
                    <a:pt x="917" y="503"/>
                  </a:cubicBezTo>
                  <a:cubicBezTo>
                    <a:pt x="917" y="544"/>
                    <a:pt x="917" y="544"/>
                    <a:pt x="917" y="544"/>
                  </a:cubicBezTo>
                  <a:cubicBezTo>
                    <a:pt x="877" y="544"/>
                    <a:pt x="877" y="544"/>
                    <a:pt x="877" y="544"/>
                  </a:cubicBezTo>
                  <a:lnTo>
                    <a:pt x="877" y="503"/>
                  </a:lnTo>
                  <a:close/>
                  <a:moveTo>
                    <a:pt x="802" y="364"/>
                  </a:moveTo>
                  <a:cubicBezTo>
                    <a:pt x="842" y="364"/>
                    <a:pt x="842" y="364"/>
                    <a:pt x="842" y="364"/>
                  </a:cubicBezTo>
                  <a:cubicBezTo>
                    <a:pt x="842" y="405"/>
                    <a:pt x="842" y="405"/>
                    <a:pt x="842" y="405"/>
                  </a:cubicBezTo>
                  <a:cubicBezTo>
                    <a:pt x="802" y="405"/>
                    <a:pt x="802" y="405"/>
                    <a:pt x="802" y="405"/>
                  </a:cubicBezTo>
                  <a:lnTo>
                    <a:pt x="802" y="364"/>
                  </a:lnTo>
                  <a:close/>
                  <a:moveTo>
                    <a:pt x="802" y="435"/>
                  </a:moveTo>
                  <a:cubicBezTo>
                    <a:pt x="842" y="435"/>
                    <a:pt x="842" y="435"/>
                    <a:pt x="842" y="435"/>
                  </a:cubicBezTo>
                  <a:cubicBezTo>
                    <a:pt x="842" y="476"/>
                    <a:pt x="842" y="476"/>
                    <a:pt x="842" y="476"/>
                  </a:cubicBezTo>
                  <a:cubicBezTo>
                    <a:pt x="802" y="476"/>
                    <a:pt x="802" y="476"/>
                    <a:pt x="802" y="476"/>
                  </a:cubicBezTo>
                  <a:lnTo>
                    <a:pt x="802" y="435"/>
                  </a:lnTo>
                  <a:close/>
                  <a:moveTo>
                    <a:pt x="802" y="503"/>
                  </a:moveTo>
                  <a:cubicBezTo>
                    <a:pt x="842" y="503"/>
                    <a:pt x="842" y="503"/>
                    <a:pt x="842" y="503"/>
                  </a:cubicBezTo>
                  <a:cubicBezTo>
                    <a:pt x="842" y="544"/>
                    <a:pt x="842" y="544"/>
                    <a:pt x="842" y="544"/>
                  </a:cubicBezTo>
                  <a:cubicBezTo>
                    <a:pt x="802" y="544"/>
                    <a:pt x="802" y="544"/>
                    <a:pt x="802" y="544"/>
                  </a:cubicBezTo>
                  <a:lnTo>
                    <a:pt x="802" y="503"/>
                  </a:lnTo>
                  <a:close/>
                  <a:moveTo>
                    <a:pt x="727" y="364"/>
                  </a:moveTo>
                  <a:cubicBezTo>
                    <a:pt x="768" y="364"/>
                    <a:pt x="768" y="364"/>
                    <a:pt x="768" y="364"/>
                  </a:cubicBezTo>
                  <a:cubicBezTo>
                    <a:pt x="768" y="405"/>
                    <a:pt x="768" y="405"/>
                    <a:pt x="768" y="405"/>
                  </a:cubicBezTo>
                  <a:cubicBezTo>
                    <a:pt x="727" y="405"/>
                    <a:pt x="727" y="405"/>
                    <a:pt x="727" y="405"/>
                  </a:cubicBezTo>
                  <a:lnTo>
                    <a:pt x="727" y="364"/>
                  </a:lnTo>
                  <a:close/>
                  <a:moveTo>
                    <a:pt x="727" y="435"/>
                  </a:moveTo>
                  <a:cubicBezTo>
                    <a:pt x="768" y="435"/>
                    <a:pt x="768" y="435"/>
                    <a:pt x="768" y="435"/>
                  </a:cubicBezTo>
                  <a:cubicBezTo>
                    <a:pt x="768" y="476"/>
                    <a:pt x="768" y="476"/>
                    <a:pt x="768" y="476"/>
                  </a:cubicBezTo>
                  <a:cubicBezTo>
                    <a:pt x="727" y="476"/>
                    <a:pt x="727" y="476"/>
                    <a:pt x="727" y="476"/>
                  </a:cubicBezTo>
                  <a:lnTo>
                    <a:pt x="727" y="435"/>
                  </a:lnTo>
                  <a:close/>
                  <a:moveTo>
                    <a:pt x="727" y="503"/>
                  </a:moveTo>
                  <a:cubicBezTo>
                    <a:pt x="768" y="503"/>
                    <a:pt x="768" y="503"/>
                    <a:pt x="768" y="503"/>
                  </a:cubicBezTo>
                  <a:cubicBezTo>
                    <a:pt x="768" y="544"/>
                    <a:pt x="768" y="544"/>
                    <a:pt x="768" y="544"/>
                  </a:cubicBezTo>
                  <a:cubicBezTo>
                    <a:pt x="727" y="544"/>
                    <a:pt x="727" y="544"/>
                    <a:pt x="727" y="544"/>
                  </a:cubicBezTo>
                  <a:lnTo>
                    <a:pt x="727" y="503"/>
                  </a:lnTo>
                  <a:close/>
                  <a:moveTo>
                    <a:pt x="653" y="364"/>
                  </a:moveTo>
                  <a:cubicBezTo>
                    <a:pt x="693" y="364"/>
                    <a:pt x="693" y="364"/>
                    <a:pt x="693" y="364"/>
                  </a:cubicBezTo>
                  <a:cubicBezTo>
                    <a:pt x="693" y="405"/>
                    <a:pt x="693" y="405"/>
                    <a:pt x="693" y="405"/>
                  </a:cubicBezTo>
                  <a:cubicBezTo>
                    <a:pt x="653" y="405"/>
                    <a:pt x="653" y="405"/>
                    <a:pt x="653" y="405"/>
                  </a:cubicBezTo>
                  <a:lnTo>
                    <a:pt x="653" y="364"/>
                  </a:lnTo>
                  <a:close/>
                  <a:moveTo>
                    <a:pt x="653" y="435"/>
                  </a:moveTo>
                  <a:cubicBezTo>
                    <a:pt x="693" y="435"/>
                    <a:pt x="693" y="435"/>
                    <a:pt x="693" y="435"/>
                  </a:cubicBezTo>
                  <a:cubicBezTo>
                    <a:pt x="693" y="476"/>
                    <a:pt x="693" y="476"/>
                    <a:pt x="693" y="476"/>
                  </a:cubicBezTo>
                  <a:cubicBezTo>
                    <a:pt x="653" y="476"/>
                    <a:pt x="653" y="476"/>
                    <a:pt x="653" y="476"/>
                  </a:cubicBezTo>
                  <a:lnTo>
                    <a:pt x="653" y="435"/>
                  </a:lnTo>
                  <a:close/>
                  <a:moveTo>
                    <a:pt x="653" y="503"/>
                  </a:moveTo>
                  <a:cubicBezTo>
                    <a:pt x="693" y="503"/>
                    <a:pt x="693" y="503"/>
                    <a:pt x="693" y="503"/>
                  </a:cubicBezTo>
                  <a:cubicBezTo>
                    <a:pt x="693" y="544"/>
                    <a:pt x="693" y="544"/>
                    <a:pt x="693" y="544"/>
                  </a:cubicBezTo>
                  <a:cubicBezTo>
                    <a:pt x="653" y="544"/>
                    <a:pt x="653" y="544"/>
                    <a:pt x="653" y="544"/>
                  </a:cubicBezTo>
                  <a:lnTo>
                    <a:pt x="653" y="503"/>
                  </a:lnTo>
                  <a:close/>
                  <a:moveTo>
                    <a:pt x="655" y="282"/>
                  </a:moveTo>
                  <a:cubicBezTo>
                    <a:pt x="1538" y="282"/>
                    <a:pt x="1538" y="282"/>
                    <a:pt x="1538" y="282"/>
                  </a:cubicBezTo>
                  <a:cubicBezTo>
                    <a:pt x="1574" y="282"/>
                    <a:pt x="1603" y="254"/>
                    <a:pt x="1603" y="218"/>
                  </a:cubicBezTo>
                  <a:cubicBezTo>
                    <a:pt x="1603" y="65"/>
                    <a:pt x="1603" y="65"/>
                    <a:pt x="1603" y="65"/>
                  </a:cubicBezTo>
                  <a:cubicBezTo>
                    <a:pt x="1603" y="29"/>
                    <a:pt x="1574" y="0"/>
                    <a:pt x="1538" y="0"/>
                  </a:cubicBezTo>
                  <a:cubicBezTo>
                    <a:pt x="655" y="0"/>
                    <a:pt x="655" y="0"/>
                    <a:pt x="655" y="0"/>
                  </a:cubicBezTo>
                  <a:cubicBezTo>
                    <a:pt x="619" y="0"/>
                    <a:pt x="590" y="29"/>
                    <a:pt x="590" y="65"/>
                  </a:cubicBezTo>
                  <a:cubicBezTo>
                    <a:pt x="590" y="218"/>
                    <a:pt x="590" y="218"/>
                    <a:pt x="590" y="218"/>
                  </a:cubicBezTo>
                  <a:cubicBezTo>
                    <a:pt x="590" y="254"/>
                    <a:pt x="619" y="282"/>
                    <a:pt x="655" y="282"/>
                  </a:cubicBezTo>
                  <a:close/>
                  <a:moveTo>
                    <a:pt x="1464" y="90"/>
                  </a:moveTo>
                  <a:cubicBezTo>
                    <a:pt x="1492" y="90"/>
                    <a:pt x="1515" y="113"/>
                    <a:pt x="1515" y="141"/>
                  </a:cubicBezTo>
                  <a:cubicBezTo>
                    <a:pt x="1515" y="170"/>
                    <a:pt x="1492" y="192"/>
                    <a:pt x="1464" y="192"/>
                  </a:cubicBezTo>
                  <a:cubicBezTo>
                    <a:pt x="1436" y="192"/>
                    <a:pt x="1413" y="170"/>
                    <a:pt x="1413" y="141"/>
                  </a:cubicBezTo>
                  <a:cubicBezTo>
                    <a:pt x="1413" y="113"/>
                    <a:pt x="1436" y="90"/>
                    <a:pt x="1464" y="90"/>
                  </a:cubicBezTo>
                  <a:close/>
                  <a:moveTo>
                    <a:pt x="1100" y="52"/>
                  </a:moveTo>
                  <a:cubicBezTo>
                    <a:pt x="1140" y="52"/>
                    <a:pt x="1140" y="52"/>
                    <a:pt x="1140" y="52"/>
                  </a:cubicBezTo>
                  <a:cubicBezTo>
                    <a:pt x="1140" y="92"/>
                    <a:pt x="1140" y="92"/>
                    <a:pt x="1140" y="92"/>
                  </a:cubicBezTo>
                  <a:cubicBezTo>
                    <a:pt x="1100" y="92"/>
                    <a:pt x="1100" y="92"/>
                    <a:pt x="1100" y="92"/>
                  </a:cubicBezTo>
                  <a:lnTo>
                    <a:pt x="1100" y="52"/>
                  </a:lnTo>
                  <a:close/>
                  <a:moveTo>
                    <a:pt x="1100" y="123"/>
                  </a:moveTo>
                  <a:cubicBezTo>
                    <a:pt x="1140" y="123"/>
                    <a:pt x="1140" y="123"/>
                    <a:pt x="1140" y="123"/>
                  </a:cubicBezTo>
                  <a:cubicBezTo>
                    <a:pt x="1140" y="163"/>
                    <a:pt x="1140" y="163"/>
                    <a:pt x="1140" y="163"/>
                  </a:cubicBezTo>
                  <a:cubicBezTo>
                    <a:pt x="1100" y="163"/>
                    <a:pt x="1100" y="163"/>
                    <a:pt x="1100" y="163"/>
                  </a:cubicBezTo>
                  <a:lnTo>
                    <a:pt x="1100" y="123"/>
                  </a:lnTo>
                  <a:close/>
                  <a:moveTo>
                    <a:pt x="1100" y="191"/>
                  </a:moveTo>
                  <a:cubicBezTo>
                    <a:pt x="1140" y="191"/>
                    <a:pt x="1140" y="191"/>
                    <a:pt x="1140" y="191"/>
                  </a:cubicBezTo>
                  <a:cubicBezTo>
                    <a:pt x="1140" y="231"/>
                    <a:pt x="1140" y="231"/>
                    <a:pt x="1140" y="231"/>
                  </a:cubicBezTo>
                  <a:cubicBezTo>
                    <a:pt x="1100" y="231"/>
                    <a:pt x="1100" y="231"/>
                    <a:pt x="1100" y="231"/>
                  </a:cubicBezTo>
                  <a:lnTo>
                    <a:pt x="1100" y="191"/>
                  </a:lnTo>
                  <a:close/>
                  <a:moveTo>
                    <a:pt x="1025" y="52"/>
                  </a:moveTo>
                  <a:cubicBezTo>
                    <a:pt x="1066" y="52"/>
                    <a:pt x="1066" y="52"/>
                    <a:pt x="1066" y="52"/>
                  </a:cubicBezTo>
                  <a:cubicBezTo>
                    <a:pt x="1066" y="92"/>
                    <a:pt x="1066" y="92"/>
                    <a:pt x="1066" y="92"/>
                  </a:cubicBezTo>
                  <a:cubicBezTo>
                    <a:pt x="1025" y="92"/>
                    <a:pt x="1025" y="92"/>
                    <a:pt x="1025" y="92"/>
                  </a:cubicBezTo>
                  <a:lnTo>
                    <a:pt x="1025" y="52"/>
                  </a:lnTo>
                  <a:close/>
                  <a:moveTo>
                    <a:pt x="1025" y="123"/>
                  </a:moveTo>
                  <a:cubicBezTo>
                    <a:pt x="1066" y="123"/>
                    <a:pt x="1066" y="123"/>
                    <a:pt x="1066" y="123"/>
                  </a:cubicBezTo>
                  <a:cubicBezTo>
                    <a:pt x="1066" y="163"/>
                    <a:pt x="1066" y="163"/>
                    <a:pt x="1066" y="163"/>
                  </a:cubicBezTo>
                  <a:cubicBezTo>
                    <a:pt x="1025" y="163"/>
                    <a:pt x="1025" y="163"/>
                    <a:pt x="1025" y="163"/>
                  </a:cubicBezTo>
                  <a:lnTo>
                    <a:pt x="1025" y="123"/>
                  </a:lnTo>
                  <a:close/>
                  <a:moveTo>
                    <a:pt x="1025" y="191"/>
                  </a:moveTo>
                  <a:cubicBezTo>
                    <a:pt x="1066" y="191"/>
                    <a:pt x="1066" y="191"/>
                    <a:pt x="1066" y="191"/>
                  </a:cubicBezTo>
                  <a:cubicBezTo>
                    <a:pt x="1066" y="231"/>
                    <a:pt x="1066" y="231"/>
                    <a:pt x="1066" y="231"/>
                  </a:cubicBezTo>
                  <a:cubicBezTo>
                    <a:pt x="1025" y="231"/>
                    <a:pt x="1025" y="231"/>
                    <a:pt x="1025" y="231"/>
                  </a:cubicBezTo>
                  <a:lnTo>
                    <a:pt x="1025" y="191"/>
                  </a:lnTo>
                  <a:close/>
                  <a:moveTo>
                    <a:pt x="951" y="52"/>
                  </a:moveTo>
                  <a:cubicBezTo>
                    <a:pt x="992" y="52"/>
                    <a:pt x="992" y="52"/>
                    <a:pt x="992" y="52"/>
                  </a:cubicBezTo>
                  <a:cubicBezTo>
                    <a:pt x="992" y="92"/>
                    <a:pt x="992" y="92"/>
                    <a:pt x="992" y="92"/>
                  </a:cubicBezTo>
                  <a:cubicBezTo>
                    <a:pt x="951" y="92"/>
                    <a:pt x="951" y="92"/>
                    <a:pt x="951" y="92"/>
                  </a:cubicBezTo>
                  <a:lnTo>
                    <a:pt x="951" y="52"/>
                  </a:lnTo>
                  <a:close/>
                  <a:moveTo>
                    <a:pt x="951" y="123"/>
                  </a:moveTo>
                  <a:cubicBezTo>
                    <a:pt x="992" y="123"/>
                    <a:pt x="992" y="123"/>
                    <a:pt x="992" y="123"/>
                  </a:cubicBezTo>
                  <a:cubicBezTo>
                    <a:pt x="992" y="163"/>
                    <a:pt x="992" y="163"/>
                    <a:pt x="992" y="163"/>
                  </a:cubicBezTo>
                  <a:cubicBezTo>
                    <a:pt x="951" y="163"/>
                    <a:pt x="951" y="163"/>
                    <a:pt x="951" y="163"/>
                  </a:cubicBezTo>
                  <a:lnTo>
                    <a:pt x="951" y="123"/>
                  </a:lnTo>
                  <a:close/>
                  <a:moveTo>
                    <a:pt x="951" y="191"/>
                  </a:moveTo>
                  <a:cubicBezTo>
                    <a:pt x="992" y="191"/>
                    <a:pt x="992" y="191"/>
                    <a:pt x="992" y="191"/>
                  </a:cubicBezTo>
                  <a:cubicBezTo>
                    <a:pt x="992" y="231"/>
                    <a:pt x="992" y="231"/>
                    <a:pt x="992" y="231"/>
                  </a:cubicBezTo>
                  <a:cubicBezTo>
                    <a:pt x="951" y="231"/>
                    <a:pt x="951" y="231"/>
                    <a:pt x="951" y="231"/>
                  </a:cubicBezTo>
                  <a:lnTo>
                    <a:pt x="951" y="191"/>
                  </a:lnTo>
                  <a:close/>
                  <a:moveTo>
                    <a:pt x="877" y="52"/>
                  </a:moveTo>
                  <a:cubicBezTo>
                    <a:pt x="917" y="52"/>
                    <a:pt x="917" y="52"/>
                    <a:pt x="917" y="52"/>
                  </a:cubicBezTo>
                  <a:cubicBezTo>
                    <a:pt x="917" y="92"/>
                    <a:pt x="917" y="92"/>
                    <a:pt x="917" y="92"/>
                  </a:cubicBezTo>
                  <a:cubicBezTo>
                    <a:pt x="877" y="92"/>
                    <a:pt x="877" y="92"/>
                    <a:pt x="877" y="92"/>
                  </a:cubicBezTo>
                  <a:lnTo>
                    <a:pt x="877" y="52"/>
                  </a:lnTo>
                  <a:close/>
                  <a:moveTo>
                    <a:pt x="877" y="123"/>
                  </a:moveTo>
                  <a:cubicBezTo>
                    <a:pt x="917" y="123"/>
                    <a:pt x="917" y="123"/>
                    <a:pt x="917" y="123"/>
                  </a:cubicBezTo>
                  <a:cubicBezTo>
                    <a:pt x="917" y="163"/>
                    <a:pt x="917" y="163"/>
                    <a:pt x="917" y="163"/>
                  </a:cubicBezTo>
                  <a:cubicBezTo>
                    <a:pt x="877" y="163"/>
                    <a:pt x="877" y="163"/>
                    <a:pt x="877" y="163"/>
                  </a:cubicBezTo>
                  <a:lnTo>
                    <a:pt x="877" y="123"/>
                  </a:lnTo>
                  <a:close/>
                  <a:moveTo>
                    <a:pt x="877" y="191"/>
                  </a:moveTo>
                  <a:cubicBezTo>
                    <a:pt x="917" y="191"/>
                    <a:pt x="917" y="191"/>
                    <a:pt x="917" y="191"/>
                  </a:cubicBezTo>
                  <a:cubicBezTo>
                    <a:pt x="917" y="231"/>
                    <a:pt x="917" y="231"/>
                    <a:pt x="917" y="231"/>
                  </a:cubicBezTo>
                  <a:cubicBezTo>
                    <a:pt x="877" y="231"/>
                    <a:pt x="877" y="231"/>
                    <a:pt x="877" y="231"/>
                  </a:cubicBezTo>
                  <a:lnTo>
                    <a:pt x="877" y="191"/>
                  </a:lnTo>
                  <a:close/>
                  <a:moveTo>
                    <a:pt x="802" y="52"/>
                  </a:moveTo>
                  <a:cubicBezTo>
                    <a:pt x="842" y="52"/>
                    <a:pt x="842" y="52"/>
                    <a:pt x="842" y="52"/>
                  </a:cubicBezTo>
                  <a:cubicBezTo>
                    <a:pt x="842" y="92"/>
                    <a:pt x="842" y="92"/>
                    <a:pt x="842" y="92"/>
                  </a:cubicBezTo>
                  <a:cubicBezTo>
                    <a:pt x="802" y="92"/>
                    <a:pt x="802" y="92"/>
                    <a:pt x="802" y="92"/>
                  </a:cubicBezTo>
                  <a:lnTo>
                    <a:pt x="802" y="52"/>
                  </a:lnTo>
                  <a:close/>
                  <a:moveTo>
                    <a:pt x="802" y="123"/>
                  </a:moveTo>
                  <a:cubicBezTo>
                    <a:pt x="842" y="123"/>
                    <a:pt x="842" y="123"/>
                    <a:pt x="842" y="123"/>
                  </a:cubicBezTo>
                  <a:cubicBezTo>
                    <a:pt x="842" y="163"/>
                    <a:pt x="842" y="163"/>
                    <a:pt x="842" y="163"/>
                  </a:cubicBezTo>
                  <a:cubicBezTo>
                    <a:pt x="802" y="163"/>
                    <a:pt x="802" y="163"/>
                    <a:pt x="802" y="163"/>
                  </a:cubicBezTo>
                  <a:lnTo>
                    <a:pt x="802" y="123"/>
                  </a:lnTo>
                  <a:close/>
                  <a:moveTo>
                    <a:pt x="802" y="191"/>
                  </a:moveTo>
                  <a:cubicBezTo>
                    <a:pt x="842" y="191"/>
                    <a:pt x="842" y="191"/>
                    <a:pt x="842" y="191"/>
                  </a:cubicBezTo>
                  <a:cubicBezTo>
                    <a:pt x="842" y="231"/>
                    <a:pt x="842" y="231"/>
                    <a:pt x="842" y="231"/>
                  </a:cubicBezTo>
                  <a:cubicBezTo>
                    <a:pt x="802" y="231"/>
                    <a:pt x="802" y="231"/>
                    <a:pt x="802" y="231"/>
                  </a:cubicBezTo>
                  <a:lnTo>
                    <a:pt x="802" y="191"/>
                  </a:lnTo>
                  <a:close/>
                  <a:moveTo>
                    <a:pt x="727" y="52"/>
                  </a:moveTo>
                  <a:cubicBezTo>
                    <a:pt x="768" y="52"/>
                    <a:pt x="768" y="52"/>
                    <a:pt x="768" y="52"/>
                  </a:cubicBezTo>
                  <a:cubicBezTo>
                    <a:pt x="768" y="92"/>
                    <a:pt x="768" y="92"/>
                    <a:pt x="768" y="92"/>
                  </a:cubicBezTo>
                  <a:cubicBezTo>
                    <a:pt x="727" y="92"/>
                    <a:pt x="727" y="92"/>
                    <a:pt x="727" y="92"/>
                  </a:cubicBezTo>
                  <a:lnTo>
                    <a:pt x="727" y="52"/>
                  </a:lnTo>
                  <a:close/>
                  <a:moveTo>
                    <a:pt x="727" y="123"/>
                  </a:moveTo>
                  <a:cubicBezTo>
                    <a:pt x="768" y="123"/>
                    <a:pt x="768" y="123"/>
                    <a:pt x="768" y="123"/>
                  </a:cubicBezTo>
                  <a:cubicBezTo>
                    <a:pt x="768" y="163"/>
                    <a:pt x="768" y="163"/>
                    <a:pt x="768" y="163"/>
                  </a:cubicBezTo>
                  <a:cubicBezTo>
                    <a:pt x="727" y="163"/>
                    <a:pt x="727" y="163"/>
                    <a:pt x="727" y="163"/>
                  </a:cubicBezTo>
                  <a:lnTo>
                    <a:pt x="727" y="123"/>
                  </a:lnTo>
                  <a:close/>
                  <a:moveTo>
                    <a:pt x="727" y="191"/>
                  </a:moveTo>
                  <a:cubicBezTo>
                    <a:pt x="768" y="191"/>
                    <a:pt x="768" y="191"/>
                    <a:pt x="768" y="191"/>
                  </a:cubicBezTo>
                  <a:cubicBezTo>
                    <a:pt x="768" y="231"/>
                    <a:pt x="768" y="231"/>
                    <a:pt x="768" y="231"/>
                  </a:cubicBezTo>
                  <a:cubicBezTo>
                    <a:pt x="727" y="231"/>
                    <a:pt x="727" y="231"/>
                    <a:pt x="727" y="231"/>
                  </a:cubicBezTo>
                  <a:lnTo>
                    <a:pt x="727" y="191"/>
                  </a:lnTo>
                  <a:close/>
                  <a:moveTo>
                    <a:pt x="653" y="52"/>
                  </a:moveTo>
                  <a:cubicBezTo>
                    <a:pt x="693" y="52"/>
                    <a:pt x="693" y="52"/>
                    <a:pt x="693" y="52"/>
                  </a:cubicBezTo>
                  <a:cubicBezTo>
                    <a:pt x="693" y="92"/>
                    <a:pt x="693" y="92"/>
                    <a:pt x="693" y="92"/>
                  </a:cubicBezTo>
                  <a:cubicBezTo>
                    <a:pt x="653" y="92"/>
                    <a:pt x="653" y="92"/>
                    <a:pt x="653" y="92"/>
                  </a:cubicBezTo>
                  <a:lnTo>
                    <a:pt x="653" y="52"/>
                  </a:lnTo>
                  <a:close/>
                  <a:moveTo>
                    <a:pt x="653" y="123"/>
                  </a:moveTo>
                  <a:cubicBezTo>
                    <a:pt x="693" y="123"/>
                    <a:pt x="693" y="123"/>
                    <a:pt x="693" y="123"/>
                  </a:cubicBezTo>
                  <a:cubicBezTo>
                    <a:pt x="693" y="163"/>
                    <a:pt x="693" y="163"/>
                    <a:pt x="693" y="163"/>
                  </a:cubicBezTo>
                  <a:cubicBezTo>
                    <a:pt x="653" y="163"/>
                    <a:pt x="653" y="163"/>
                    <a:pt x="653" y="163"/>
                  </a:cubicBezTo>
                  <a:lnTo>
                    <a:pt x="653" y="123"/>
                  </a:lnTo>
                  <a:close/>
                  <a:moveTo>
                    <a:pt x="653" y="191"/>
                  </a:moveTo>
                  <a:cubicBezTo>
                    <a:pt x="693" y="191"/>
                    <a:pt x="693" y="191"/>
                    <a:pt x="693" y="191"/>
                  </a:cubicBezTo>
                  <a:cubicBezTo>
                    <a:pt x="693" y="231"/>
                    <a:pt x="693" y="231"/>
                    <a:pt x="693" y="231"/>
                  </a:cubicBezTo>
                  <a:cubicBezTo>
                    <a:pt x="653" y="231"/>
                    <a:pt x="653" y="231"/>
                    <a:pt x="653" y="231"/>
                  </a:cubicBezTo>
                  <a:lnTo>
                    <a:pt x="653" y="191"/>
                  </a:lnTo>
                  <a:close/>
                  <a:moveTo>
                    <a:pt x="1345" y="2036"/>
                  </a:moveTo>
                  <a:cubicBezTo>
                    <a:pt x="1339" y="2029"/>
                    <a:pt x="1325" y="2023"/>
                    <a:pt x="1315" y="2023"/>
                  </a:cubicBezTo>
                  <a:cubicBezTo>
                    <a:pt x="878" y="2023"/>
                    <a:pt x="878" y="2023"/>
                    <a:pt x="878" y="2023"/>
                  </a:cubicBezTo>
                  <a:cubicBezTo>
                    <a:pt x="868" y="2023"/>
                    <a:pt x="855" y="2029"/>
                    <a:pt x="848" y="2036"/>
                  </a:cubicBezTo>
                  <a:cubicBezTo>
                    <a:pt x="761" y="2138"/>
                    <a:pt x="761" y="2138"/>
                    <a:pt x="761" y="2138"/>
                  </a:cubicBezTo>
                  <a:cubicBezTo>
                    <a:pt x="755" y="2146"/>
                    <a:pt x="749" y="2160"/>
                    <a:pt x="749" y="2170"/>
                  </a:cubicBezTo>
                  <a:cubicBezTo>
                    <a:pt x="749" y="2179"/>
                    <a:pt x="749" y="2179"/>
                    <a:pt x="749" y="2179"/>
                  </a:cubicBezTo>
                  <a:cubicBezTo>
                    <a:pt x="749" y="2189"/>
                    <a:pt x="757" y="2197"/>
                    <a:pt x="767" y="2197"/>
                  </a:cubicBezTo>
                  <a:cubicBezTo>
                    <a:pt x="1426" y="2197"/>
                    <a:pt x="1426" y="2197"/>
                    <a:pt x="1426" y="2197"/>
                  </a:cubicBezTo>
                  <a:cubicBezTo>
                    <a:pt x="1436" y="2197"/>
                    <a:pt x="1444" y="2189"/>
                    <a:pt x="1444" y="2179"/>
                  </a:cubicBezTo>
                  <a:cubicBezTo>
                    <a:pt x="1444" y="2170"/>
                    <a:pt x="1444" y="2170"/>
                    <a:pt x="1444" y="2170"/>
                  </a:cubicBezTo>
                  <a:cubicBezTo>
                    <a:pt x="1444" y="2160"/>
                    <a:pt x="1439" y="2146"/>
                    <a:pt x="1432" y="2138"/>
                  </a:cubicBezTo>
                  <a:lnTo>
                    <a:pt x="1345" y="2036"/>
                  </a:lnTo>
                  <a:close/>
                  <a:moveTo>
                    <a:pt x="2182" y="1590"/>
                  </a:moveTo>
                  <a:cubicBezTo>
                    <a:pt x="2095" y="1488"/>
                    <a:pt x="2095" y="1488"/>
                    <a:pt x="2095" y="1488"/>
                  </a:cubicBezTo>
                  <a:cubicBezTo>
                    <a:pt x="2088" y="1480"/>
                    <a:pt x="2075" y="1474"/>
                    <a:pt x="2065" y="1474"/>
                  </a:cubicBezTo>
                  <a:cubicBezTo>
                    <a:pt x="1627" y="1474"/>
                    <a:pt x="1627" y="1474"/>
                    <a:pt x="1627" y="1474"/>
                  </a:cubicBezTo>
                  <a:cubicBezTo>
                    <a:pt x="1617" y="1474"/>
                    <a:pt x="1604" y="1480"/>
                    <a:pt x="1597" y="1488"/>
                  </a:cubicBezTo>
                  <a:cubicBezTo>
                    <a:pt x="1510" y="1590"/>
                    <a:pt x="1510" y="1590"/>
                    <a:pt x="1510" y="1590"/>
                  </a:cubicBezTo>
                  <a:cubicBezTo>
                    <a:pt x="1504" y="1598"/>
                    <a:pt x="1499" y="1612"/>
                    <a:pt x="1499" y="1622"/>
                  </a:cubicBezTo>
                  <a:cubicBezTo>
                    <a:pt x="1499" y="1630"/>
                    <a:pt x="1499" y="1630"/>
                    <a:pt x="1499" y="1630"/>
                  </a:cubicBezTo>
                  <a:cubicBezTo>
                    <a:pt x="1499" y="1640"/>
                    <a:pt x="1507" y="1649"/>
                    <a:pt x="1517" y="1649"/>
                  </a:cubicBezTo>
                  <a:cubicBezTo>
                    <a:pt x="2175" y="1649"/>
                    <a:pt x="2175" y="1649"/>
                    <a:pt x="2175" y="1649"/>
                  </a:cubicBezTo>
                  <a:cubicBezTo>
                    <a:pt x="2185" y="1649"/>
                    <a:pt x="2193" y="1640"/>
                    <a:pt x="2193" y="1630"/>
                  </a:cubicBezTo>
                  <a:cubicBezTo>
                    <a:pt x="2193" y="1622"/>
                    <a:pt x="2193" y="1622"/>
                    <a:pt x="2193" y="1622"/>
                  </a:cubicBezTo>
                  <a:cubicBezTo>
                    <a:pt x="2193" y="1612"/>
                    <a:pt x="2188" y="1598"/>
                    <a:pt x="2182" y="1590"/>
                  </a:cubicBezTo>
                  <a:close/>
                  <a:moveTo>
                    <a:pt x="176" y="1449"/>
                  </a:moveTo>
                  <a:cubicBezTo>
                    <a:pt x="519" y="1449"/>
                    <a:pt x="519" y="1449"/>
                    <a:pt x="519" y="1449"/>
                  </a:cubicBezTo>
                  <a:cubicBezTo>
                    <a:pt x="559" y="1449"/>
                    <a:pt x="591" y="1417"/>
                    <a:pt x="591" y="1377"/>
                  </a:cubicBezTo>
                  <a:cubicBezTo>
                    <a:pt x="591" y="1322"/>
                    <a:pt x="591" y="1322"/>
                    <a:pt x="591" y="1322"/>
                  </a:cubicBezTo>
                  <a:cubicBezTo>
                    <a:pt x="920" y="1322"/>
                    <a:pt x="920" y="1322"/>
                    <a:pt x="920" y="1322"/>
                  </a:cubicBezTo>
                  <a:cubicBezTo>
                    <a:pt x="936" y="1388"/>
                    <a:pt x="990" y="1440"/>
                    <a:pt x="1057" y="1455"/>
                  </a:cubicBezTo>
                  <a:cubicBezTo>
                    <a:pt x="1057" y="1617"/>
                    <a:pt x="1057" y="1617"/>
                    <a:pt x="1057" y="1617"/>
                  </a:cubicBezTo>
                  <a:cubicBezTo>
                    <a:pt x="925" y="1617"/>
                    <a:pt x="925" y="1617"/>
                    <a:pt x="925" y="1617"/>
                  </a:cubicBezTo>
                  <a:cubicBezTo>
                    <a:pt x="885" y="1617"/>
                    <a:pt x="853" y="1650"/>
                    <a:pt x="853" y="1690"/>
                  </a:cubicBezTo>
                  <a:cubicBezTo>
                    <a:pt x="853" y="1925"/>
                    <a:pt x="853" y="1925"/>
                    <a:pt x="853" y="1925"/>
                  </a:cubicBezTo>
                  <a:cubicBezTo>
                    <a:pt x="853" y="1965"/>
                    <a:pt x="885" y="1997"/>
                    <a:pt x="925" y="1997"/>
                  </a:cubicBezTo>
                  <a:cubicBezTo>
                    <a:pt x="1268" y="1997"/>
                    <a:pt x="1268" y="1997"/>
                    <a:pt x="1268" y="1997"/>
                  </a:cubicBezTo>
                  <a:cubicBezTo>
                    <a:pt x="1308" y="1997"/>
                    <a:pt x="1341" y="1965"/>
                    <a:pt x="1341" y="1925"/>
                  </a:cubicBezTo>
                  <a:cubicBezTo>
                    <a:pt x="1341" y="1690"/>
                    <a:pt x="1341" y="1690"/>
                    <a:pt x="1341" y="1690"/>
                  </a:cubicBezTo>
                  <a:cubicBezTo>
                    <a:pt x="1341" y="1650"/>
                    <a:pt x="1308" y="1617"/>
                    <a:pt x="1268" y="1617"/>
                  </a:cubicBezTo>
                  <a:cubicBezTo>
                    <a:pt x="1137" y="1617"/>
                    <a:pt x="1137" y="1617"/>
                    <a:pt x="1137" y="1617"/>
                  </a:cubicBezTo>
                  <a:cubicBezTo>
                    <a:pt x="1137" y="1455"/>
                    <a:pt x="1137" y="1455"/>
                    <a:pt x="1137" y="1455"/>
                  </a:cubicBezTo>
                  <a:cubicBezTo>
                    <a:pt x="1204" y="1440"/>
                    <a:pt x="1257" y="1388"/>
                    <a:pt x="1273" y="1322"/>
                  </a:cubicBezTo>
                  <a:cubicBezTo>
                    <a:pt x="1602" y="1322"/>
                    <a:pt x="1602" y="1322"/>
                    <a:pt x="1602" y="1322"/>
                  </a:cubicBezTo>
                  <a:cubicBezTo>
                    <a:pt x="1602" y="1377"/>
                    <a:pt x="1602" y="1377"/>
                    <a:pt x="1602" y="1377"/>
                  </a:cubicBezTo>
                  <a:cubicBezTo>
                    <a:pt x="1602" y="1417"/>
                    <a:pt x="1634" y="1449"/>
                    <a:pt x="1675" y="1449"/>
                  </a:cubicBezTo>
                  <a:cubicBezTo>
                    <a:pt x="2018" y="1449"/>
                    <a:pt x="2018" y="1449"/>
                    <a:pt x="2018" y="1449"/>
                  </a:cubicBezTo>
                  <a:cubicBezTo>
                    <a:pt x="2058" y="1449"/>
                    <a:pt x="2090" y="1417"/>
                    <a:pt x="2090" y="1377"/>
                  </a:cubicBezTo>
                  <a:cubicBezTo>
                    <a:pt x="2090" y="1142"/>
                    <a:pt x="2090" y="1142"/>
                    <a:pt x="2090" y="1142"/>
                  </a:cubicBezTo>
                  <a:cubicBezTo>
                    <a:pt x="2090" y="1102"/>
                    <a:pt x="2058" y="1069"/>
                    <a:pt x="2018" y="1069"/>
                  </a:cubicBezTo>
                  <a:cubicBezTo>
                    <a:pt x="1675" y="1069"/>
                    <a:pt x="1675" y="1069"/>
                    <a:pt x="1675" y="1069"/>
                  </a:cubicBezTo>
                  <a:cubicBezTo>
                    <a:pt x="1634" y="1069"/>
                    <a:pt x="1602" y="1102"/>
                    <a:pt x="1602" y="1142"/>
                  </a:cubicBezTo>
                  <a:cubicBezTo>
                    <a:pt x="1602" y="1242"/>
                    <a:pt x="1602" y="1242"/>
                    <a:pt x="1602" y="1242"/>
                  </a:cubicBezTo>
                  <a:cubicBezTo>
                    <a:pt x="1275" y="1242"/>
                    <a:pt x="1275" y="1242"/>
                    <a:pt x="1275" y="1242"/>
                  </a:cubicBezTo>
                  <a:cubicBezTo>
                    <a:pt x="1262" y="1176"/>
                    <a:pt x="1214" y="1122"/>
                    <a:pt x="1150" y="1103"/>
                  </a:cubicBezTo>
                  <a:cubicBezTo>
                    <a:pt x="1150" y="908"/>
                    <a:pt x="1150" y="908"/>
                    <a:pt x="1150" y="908"/>
                  </a:cubicBezTo>
                  <a:cubicBezTo>
                    <a:pt x="1538" y="908"/>
                    <a:pt x="1538" y="908"/>
                    <a:pt x="1538" y="908"/>
                  </a:cubicBezTo>
                  <a:cubicBezTo>
                    <a:pt x="1574" y="908"/>
                    <a:pt x="1603" y="879"/>
                    <a:pt x="1603" y="843"/>
                  </a:cubicBezTo>
                  <a:cubicBezTo>
                    <a:pt x="1603" y="690"/>
                    <a:pt x="1603" y="690"/>
                    <a:pt x="1603" y="690"/>
                  </a:cubicBezTo>
                  <a:cubicBezTo>
                    <a:pt x="1603" y="654"/>
                    <a:pt x="1574" y="625"/>
                    <a:pt x="1538" y="625"/>
                  </a:cubicBezTo>
                  <a:cubicBezTo>
                    <a:pt x="655" y="625"/>
                    <a:pt x="655" y="625"/>
                    <a:pt x="655" y="625"/>
                  </a:cubicBezTo>
                  <a:cubicBezTo>
                    <a:pt x="619" y="625"/>
                    <a:pt x="590" y="654"/>
                    <a:pt x="590" y="690"/>
                  </a:cubicBezTo>
                  <a:cubicBezTo>
                    <a:pt x="590" y="843"/>
                    <a:pt x="590" y="843"/>
                    <a:pt x="590" y="843"/>
                  </a:cubicBezTo>
                  <a:cubicBezTo>
                    <a:pt x="590" y="879"/>
                    <a:pt x="619" y="908"/>
                    <a:pt x="655" y="908"/>
                  </a:cubicBezTo>
                  <a:cubicBezTo>
                    <a:pt x="1043" y="908"/>
                    <a:pt x="1043" y="908"/>
                    <a:pt x="1043" y="908"/>
                  </a:cubicBezTo>
                  <a:cubicBezTo>
                    <a:pt x="1043" y="1103"/>
                    <a:pt x="1043" y="1103"/>
                    <a:pt x="1043" y="1103"/>
                  </a:cubicBezTo>
                  <a:cubicBezTo>
                    <a:pt x="980" y="1122"/>
                    <a:pt x="931" y="1176"/>
                    <a:pt x="918" y="1242"/>
                  </a:cubicBezTo>
                  <a:cubicBezTo>
                    <a:pt x="591" y="1242"/>
                    <a:pt x="591" y="1242"/>
                    <a:pt x="591" y="1242"/>
                  </a:cubicBezTo>
                  <a:cubicBezTo>
                    <a:pt x="591" y="1142"/>
                    <a:pt x="591" y="1142"/>
                    <a:pt x="591" y="1142"/>
                  </a:cubicBezTo>
                  <a:cubicBezTo>
                    <a:pt x="591" y="1102"/>
                    <a:pt x="559" y="1069"/>
                    <a:pt x="519" y="1069"/>
                  </a:cubicBezTo>
                  <a:cubicBezTo>
                    <a:pt x="176" y="1069"/>
                    <a:pt x="176" y="1069"/>
                    <a:pt x="176" y="1069"/>
                  </a:cubicBezTo>
                  <a:cubicBezTo>
                    <a:pt x="136" y="1069"/>
                    <a:pt x="103" y="1102"/>
                    <a:pt x="103" y="1142"/>
                  </a:cubicBezTo>
                  <a:cubicBezTo>
                    <a:pt x="103" y="1377"/>
                    <a:pt x="103" y="1377"/>
                    <a:pt x="103" y="1377"/>
                  </a:cubicBezTo>
                  <a:cubicBezTo>
                    <a:pt x="103" y="1417"/>
                    <a:pt x="136" y="1449"/>
                    <a:pt x="176" y="1449"/>
                  </a:cubicBezTo>
                  <a:close/>
                  <a:moveTo>
                    <a:pt x="1644" y="1142"/>
                  </a:moveTo>
                  <a:cubicBezTo>
                    <a:pt x="1644" y="1125"/>
                    <a:pt x="1658" y="1111"/>
                    <a:pt x="1675" y="1111"/>
                  </a:cubicBezTo>
                  <a:cubicBezTo>
                    <a:pt x="2018" y="1111"/>
                    <a:pt x="2018" y="1111"/>
                    <a:pt x="2018" y="1111"/>
                  </a:cubicBezTo>
                  <a:cubicBezTo>
                    <a:pt x="2034" y="1111"/>
                    <a:pt x="2048" y="1125"/>
                    <a:pt x="2048" y="1142"/>
                  </a:cubicBezTo>
                  <a:cubicBezTo>
                    <a:pt x="2048" y="1377"/>
                    <a:pt x="2048" y="1377"/>
                    <a:pt x="2048" y="1377"/>
                  </a:cubicBezTo>
                  <a:cubicBezTo>
                    <a:pt x="2048" y="1393"/>
                    <a:pt x="2034" y="1407"/>
                    <a:pt x="2018" y="1407"/>
                  </a:cubicBezTo>
                  <a:cubicBezTo>
                    <a:pt x="1675" y="1407"/>
                    <a:pt x="1675" y="1407"/>
                    <a:pt x="1675" y="1407"/>
                  </a:cubicBezTo>
                  <a:cubicBezTo>
                    <a:pt x="1658" y="1407"/>
                    <a:pt x="1644" y="1393"/>
                    <a:pt x="1644" y="1377"/>
                  </a:cubicBezTo>
                  <a:lnTo>
                    <a:pt x="1644" y="1142"/>
                  </a:lnTo>
                  <a:close/>
                  <a:moveTo>
                    <a:pt x="1464" y="715"/>
                  </a:moveTo>
                  <a:cubicBezTo>
                    <a:pt x="1492" y="715"/>
                    <a:pt x="1515" y="738"/>
                    <a:pt x="1515" y="766"/>
                  </a:cubicBezTo>
                  <a:cubicBezTo>
                    <a:pt x="1515" y="795"/>
                    <a:pt x="1492" y="818"/>
                    <a:pt x="1464" y="818"/>
                  </a:cubicBezTo>
                  <a:cubicBezTo>
                    <a:pt x="1436" y="818"/>
                    <a:pt x="1413" y="795"/>
                    <a:pt x="1413" y="766"/>
                  </a:cubicBezTo>
                  <a:cubicBezTo>
                    <a:pt x="1413" y="738"/>
                    <a:pt x="1436" y="715"/>
                    <a:pt x="1464" y="715"/>
                  </a:cubicBezTo>
                  <a:close/>
                  <a:moveTo>
                    <a:pt x="1268" y="1660"/>
                  </a:moveTo>
                  <a:cubicBezTo>
                    <a:pt x="1285" y="1660"/>
                    <a:pt x="1298" y="1673"/>
                    <a:pt x="1298" y="1690"/>
                  </a:cubicBezTo>
                  <a:cubicBezTo>
                    <a:pt x="1298" y="1925"/>
                    <a:pt x="1298" y="1925"/>
                    <a:pt x="1298" y="1925"/>
                  </a:cubicBezTo>
                  <a:cubicBezTo>
                    <a:pt x="1298" y="1942"/>
                    <a:pt x="1285" y="1955"/>
                    <a:pt x="1268" y="1955"/>
                  </a:cubicBezTo>
                  <a:cubicBezTo>
                    <a:pt x="925" y="1955"/>
                    <a:pt x="925" y="1955"/>
                    <a:pt x="925" y="1955"/>
                  </a:cubicBezTo>
                  <a:cubicBezTo>
                    <a:pt x="908" y="1955"/>
                    <a:pt x="895" y="1942"/>
                    <a:pt x="895" y="1925"/>
                  </a:cubicBezTo>
                  <a:cubicBezTo>
                    <a:pt x="895" y="1690"/>
                    <a:pt x="895" y="1690"/>
                    <a:pt x="895" y="1690"/>
                  </a:cubicBezTo>
                  <a:cubicBezTo>
                    <a:pt x="895" y="1673"/>
                    <a:pt x="908" y="1660"/>
                    <a:pt x="925" y="1660"/>
                  </a:cubicBezTo>
                  <a:lnTo>
                    <a:pt x="1268" y="1660"/>
                  </a:lnTo>
                  <a:close/>
                  <a:moveTo>
                    <a:pt x="1100" y="677"/>
                  </a:moveTo>
                  <a:cubicBezTo>
                    <a:pt x="1140" y="677"/>
                    <a:pt x="1140" y="677"/>
                    <a:pt x="1140" y="677"/>
                  </a:cubicBezTo>
                  <a:cubicBezTo>
                    <a:pt x="1140" y="717"/>
                    <a:pt x="1140" y="717"/>
                    <a:pt x="1140" y="717"/>
                  </a:cubicBezTo>
                  <a:cubicBezTo>
                    <a:pt x="1100" y="717"/>
                    <a:pt x="1100" y="717"/>
                    <a:pt x="1100" y="717"/>
                  </a:cubicBezTo>
                  <a:lnTo>
                    <a:pt x="1100" y="677"/>
                  </a:lnTo>
                  <a:close/>
                  <a:moveTo>
                    <a:pt x="1100" y="748"/>
                  </a:moveTo>
                  <a:cubicBezTo>
                    <a:pt x="1140" y="748"/>
                    <a:pt x="1140" y="748"/>
                    <a:pt x="1140" y="748"/>
                  </a:cubicBezTo>
                  <a:cubicBezTo>
                    <a:pt x="1140" y="788"/>
                    <a:pt x="1140" y="788"/>
                    <a:pt x="1140" y="788"/>
                  </a:cubicBezTo>
                  <a:cubicBezTo>
                    <a:pt x="1100" y="788"/>
                    <a:pt x="1100" y="788"/>
                    <a:pt x="1100" y="788"/>
                  </a:cubicBezTo>
                  <a:lnTo>
                    <a:pt x="1100" y="748"/>
                  </a:lnTo>
                  <a:close/>
                  <a:moveTo>
                    <a:pt x="1100" y="816"/>
                  </a:moveTo>
                  <a:cubicBezTo>
                    <a:pt x="1140" y="816"/>
                    <a:pt x="1140" y="816"/>
                    <a:pt x="1140" y="816"/>
                  </a:cubicBezTo>
                  <a:cubicBezTo>
                    <a:pt x="1140" y="856"/>
                    <a:pt x="1140" y="856"/>
                    <a:pt x="1140" y="856"/>
                  </a:cubicBezTo>
                  <a:cubicBezTo>
                    <a:pt x="1100" y="856"/>
                    <a:pt x="1100" y="856"/>
                    <a:pt x="1100" y="856"/>
                  </a:cubicBezTo>
                  <a:lnTo>
                    <a:pt x="1100" y="816"/>
                  </a:lnTo>
                  <a:close/>
                  <a:moveTo>
                    <a:pt x="1025" y="677"/>
                  </a:moveTo>
                  <a:cubicBezTo>
                    <a:pt x="1066" y="677"/>
                    <a:pt x="1066" y="677"/>
                    <a:pt x="1066" y="677"/>
                  </a:cubicBezTo>
                  <a:cubicBezTo>
                    <a:pt x="1066" y="717"/>
                    <a:pt x="1066" y="717"/>
                    <a:pt x="1066" y="717"/>
                  </a:cubicBezTo>
                  <a:cubicBezTo>
                    <a:pt x="1025" y="717"/>
                    <a:pt x="1025" y="717"/>
                    <a:pt x="1025" y="717"/>
                  </a:cubicBezTo>
                  <a:lnTo>
                    <a:pt x="1025" y="677"/>
                  </a:lnTo>
                  <a:close/>
                  <a:moveTo>
                    <a:pt x="1025" y="748"/>
                  </a:moveTo>
                  <a:cubicBezTo>
                    <a:pt x="1066" y="748"/>
                    <a:pt x="1066" y="748"/>
                    <a:pt x="1066" y="748"/>
                  </a:cubicBezTo>
                  <a:cubicBezTo>
                    <a:pt x="1066" y="788"/>
                    <a:pt x="1066" y="788"/>
                    <a:pt x="1066" y="788"/>
                  </a:cubicBezTo>
                  <a:cubicBezTo>
                    <a:pt x="1025" y="788"/>
                    <a:pt x="1025" y="788"/>
                    <a:pt x="1025" y="788"/>
                  </a:cubicBezTo>
                  <a:lnTo>
                    <a:pt x="1025" y="748"/>
                  </a:lnTo>
                  <a:close/>
                  <a:moveTo>
                    <a:pt x="693" y="856"/>
                  </a:moveTo>
                  <a:cubicBezTo>
                    <a:pt x="653" y="856"/>
                    <a:pt x="653" y="856"/>
                    <a:pt x="653" y="856"/>
                  </a:cubicBezTo>
                  <a:cubicBezTo>
                    <a:pt x="653" y="816"/>
                    <a:pt x="653" y="816"/>
                    <a:pt x="653" y="816"/>
                  </a:cubicBezTo>
                  <a:cubicBezTo>
                    <a:pt x="693" y="816"/>
                    <a:pt x="693" y="816"/>
                    <a:pt x="693" y="816"/>
                  </a:cubicBezTo>
                  <a:lnTo>
                    <a:pt x="693" y="856"/>
                  </a:lnTo>
                  <a:close/>
                  <a:moveTo>
                    <a:pt x="693" y="788"/>
                  </a:moveTo>
                  <a:cubicBezTo>
                    <a:pt x="653" y="788"/>
                    <a:pt x="653" y="788"/>
                    <a:pt x="653" y="788"/>
                  </a:cubicBezTo>
                  <a:cubicBezTo>
                    <a:pt x="653" y="748"/>
                    <a:pt x="653" y="748"/>
                    <a:pt x="653" y="748"/>
                  </a:cubicBezTo>
                  <a:cubicBezTo>
                    <a:pt x="693" y="748"/>
                    <a:pt x="693" y="748"/>
                    <a:pt x="693" y="748"/>
                  </a:cubicBezTo>
                  <a:lnTo>
                    <a:pt x="693" y="788"/>
                  </a:lnTo>
                  <a:close/>
                  <a:moveTo>
                    <a:pt x="693" y="717"/>
                  </a:moveTo>
                  <a:cubicBezTo>
                    <a:pt x="653" y="717"/>
                    <a:pt x="653" y="717"/>
                    <a:pt x="653" y="717"/>
                  </a:cubicBezTo>
                  <a:cubicBezTo>
                    <a:pt x="653" y="677"/>
                    <a:pt x="653" y="677"/>
                    <a:pt x="653" y="677"/>
                  </a:cubicBezTo>
                  <a:cubicBezTo>
                    <a:pt x="693" y="677"/>
                    <a:pt x="693" y="677"/>
                    <a:pt x="693" y="677"/>
                  </a:cubicBezTo>
                  <a:lnTo>
                    <a:pt x="693" y="717"/>
                  </a:lnTo>
                  <a:close/>
                  <a:moveTo>
                    <a:pt x="768" y="856"/>
                  </a:moveTo>
                  <a:cubicBezTo>
                    <a:pt x="727" y="856"/>
                    <a:pt x="727" y="856"/>
                    <a:pt x="727" y="856"/>
                  </a:cubicBezTo>
                  <a:cubicBezTo>
                    <a:pt x="727" y="816"/>
                    <a:pt x="727" y="816"/>
                    <a:pt x="727" y="816"/>
                  </a:cubicBezTo>
                  <a:cubicBezTo>
                    <a:pt x="768" y="816"/>
                    <a:pt x="768" y="816"/>
                    <a:pt x="768" y="816"/>
                  </a:cubicBezTo>
                  <a:lnTo>
                    <a:pt x="768" y="856"/>
                  </a:lnTo>
                  <a:close/>
                  <a:moveTo>
                    <a:pt x="768" y="788"/>
                  </a:moveTo>
                  <a:cubicBezTo>
                    <a:pt x="727" y="788"/>
                    <a:pt x="727" y="788"/>
                    <a:pt x="727" y="788"/>
                  </a:cubicBezTo>
                  <a:cubicBezTo>
                    <a:pt x="727" y="748"/>
                    <a:pt x="727" y="748"/>
                    <a:pt x="727" y="748"/>
                  </a:cubicBezTo>
                  <a:cubicBezTo>
                    <a:pt x="768" y="748"/>
                    <a:pt x="768" y="748"/>
                    <a:pt x="768" y="748"/>
                  </a:cubicBezTo>
                  <a:lnTo>
                    <a:pt x="768" y="788"/>
                  </a:lnTo>
                  <a:close/>
                  <a:moveTo>
                    <a:pt x="768" y="717"/>
                  </a:moveTo>
                  <a:cubicBezTo>
                    <a:pt x="727" y="717"/>
                    <a:pt x="727" y="717"/>
                    <a:pt x="727" y="717"/>
                  </a:cubicBezTo>
                  <a:cubicBezTo>
                    <a:pt x="727" y="677"/>
                    <a:pt x="727" y="677"/>
                    <a:pt x="727" y="677"/>
                  </a:cubicBezTo>
                  <a:cubicBezTo>
                    <a:pt x="768" y="677"/>
                    <a:pt x="768" y="677"/>
                    <a:pt x="768" y="677"/>
                  </a:cubicBezTo>
                  <a:lnTo>
                    <a:pt x="768" y="717"/>
                  </a:lnTo>
                  <a:close/>
                  <a:moveTo>
                    <a:pt x="842" y="856"/>
                  </a:moveTo>
                  <a:cubicBezTo>
                    <a:pt x="802" y="856"/>
                    <a:pt x="802" y="856"/>
                    <a:pt x="802" y="856"/>
                  </a:cubicBezTo>
                  <a:cubicBezTo>
                    <a:pt x="802" y="816"/>
                    <a:pt x="802" y="816"/>
                    <a:pt x="802" y="816"/>
                  </a:cubicBezTo>
                  <a:cubicBezTo>
                    <a:pt x="842" y="816"/>
                    <a:pt x="842" y="816"/>
                    <a:pt x="842" y="816"/>
                  </a:cubicBezTo>
                  <a:lnTo>
                    <a:pt x="842" y="856"/>
                  </a:lnTo>
                  <a:close/>
                  <a:moveTo>
                    <a:pt x="842" y="788"/>
                  </a:moveTo>
                  <a:cubicBezTo>
                    <a:pt x="802" y="788"/>
                    <a:pt x="802" y="788"/>
                    <a:pt x="802" y="788"/>
                  </a:cubicBezTo>
                  <a:cubicBezTo>
                    <a:pt x="802" y="748"/>
                    <a:pt x="802" y="748"/>
                    <a:pt x="802" y="748"/>
                  </a:cubicBezTo>
                  <a:cubicBezTo>
                    <a:pt x="842" y="748"/>
                    <a:pt x="842" y="748"/>
                    <a:pt x="842" y="748"/>
                  </a:cubicBezTo>
                  <a:lnTo>
                    <a:pt x="842" y="788"/>
                  </a:lnTo>
                  <a:close/>
                  <a:moveTo>
                    <a:pt x="842" y="717"/>
                  </a:moveTo>
                  <a:cubicBezTo>
                    <a:pt x="802" y="717"/>
                    <a:pt x="802" y="717"/>
                    <a:pt x="802" y="717"/>
                  </a:cubicBezTo>
                  <a:cubicBezTo>
                    <a:pt x="802" y="677"/>
                    <a:pt x="802" y="677"/>
                    <a:pt x="802" y="677"/>
                  </a:cubicBezTo>
                  <a:cubicBezTo>
                    <a:pt x="842" y="677"/>
                    <a:pt x="842" y="677"/>
                    <a:pt x="842" y="677"/>
                  </a:cubicBezTo>
                  <a:lnTo>
                    <a:pt x="842" y="717"/>
                  </a:lnTo>
                  <a:close/>
                  <a:moveTo>
                    <a:pt x="917" y="856"/>
                  </a:moveTo>
                  <a:cubicBezTo>
                    <a:pt x="877" y="856"/>
                    <a:pt x="877" y="856"/>
                    <a:pt x="877" y="856"/>
                  </a:cubicBezTo>
                  <a:cubicBezTo>
                    <a:pt x="877" y="816"/>
                    <a:pt x="877" y="816"/>
                    <a:pt x="877" y="816"/>
                  </a:cubicBezTo>
                  <a:cubicBezTo>
                    <a:pt x="917" y="816"/>
                    <a:pt x="917" y="816"/>
                    <a:pt x="917" y="816"/>
                  </a:cubicBezTo>
                  <a:lnTo>
                    <a:pt x="917" y="856"/>
                  </a:lnTo>
                  <a:close/>
                  <a:moveTo>
                    <a:pt x="917" y="788"/>
                  </a:moveTo>
                  <a:cubicBezTo>
                    <a:pt x="877" y="788"/>
                    <a:pt x="877" y="788"/>
                    <a:pt x="877" y="788"/>
                  </a:cubicBezTo>
                  <a:cubicBezTo>
                    <a:pt x="877" y="748"/>
                    <a:pt x="877" y="748"/>
                    <a:pt x="877" y="748"/>
                  </a:cubicBezTo>
                  <a:cubicBezTo>
                    <a:pt x="917" y="748"/>
                    <a:pt x="917" y="748"/>
                    <a:pt x="917" y="748"/>
                  </a:cubicBezTo>
                  <a:lnTo>
                    <a:pt x="917" y="788"/>
                  </a:lnTo>
                  <a:close/>
                  <a:moveTo>
                    <a:pt x="917" y="717"/>
                  </a:moveTo>
                  <a:cubicBezTo>
                    <a:pt x="877" y="717"/>
                    <a:pt x="877" y="717"/>
                    <a:pt x="877" y="717"/>
                  </a:cubicBezTo>
                  <a:cubicBezTo>
                    <a:pt x="877" y="677"/>
                    <a:pt x="877" y="677"/>
                    <a:pt x="877" y="677"/>
                  </a:cubicBezTo>
                  <a:cubicBezTo>
                    <a:pt x="917" y="677"/>
                    <a:pt x="917" y="677"/>
                    <a:pt x="917" y="677"/>
                  </a:cubicBezTo>
                  <a:lnTo>
                    <a:pt x="917" y="717"/>
                  </a:lnTo>
                  <a:close/>
                  <a:moveTo>
                    <a:pt x="992" y="856"/>
                  </a:moveTo>
                  <a:cubicBezTo>
                    <a:pt x="951" y="856"/>
                    <a:pt x="951" y="856"/>
                    <a:pt x="951" y="856"/>
                  </a:cubicBezTo>
                  <a:cubicBezTo>
                    <a:pt x="951" y="816"/>
                    <a:pt x="951" y="816"/>
                    <a:pt x="951" y="816"/>
                  </a:cubicBezTo>
                  <a:cubicBezTo>
                    <a:pt x="992" y="816"/>
                    <a:pt x="992" y="816"/>
                    <a:pt x="992" y="816"/>
                  </a:cubicBezTo>
                  <a:lnTo>
                    <a:pt x="992" y="856"/>
                  </a:lnTo>
                  <a:close/>
                  <a:moveTo>
                    <a:pt x="992" y="788"/>
                  </a:moveTo>
                  <a:cubicBezTo>
                    <a:pt x="951" y="788"/>
                    <a:pt x="951" y="788"/>
                    <a:pt x="951" y="788"/>
                  </a:cubicBezTo>
                  <a:cubicBezTo>
                    <a:pt x="951" y="748"/>
                    <a:pt x="951" y="748"/>
                    <a:pt x="951" y="748"/>
                  </a:cubicBezTo>
                  <a:cubicBezTo>
                    <a:pt x="992" y="748"/>
                    <a:pt x="992" y="748"/>
                    <a:pt x="992" y="748"/>
                  </a:cubicBezTo>
                  <a:lnTo>
                    <a:pt x="992" y="788"/>
                  </a:lnTo>
                  <a:close/>
                  <a:moveTo>
                    <a:pt x="992" y="717"/>
                  </a:moveTo>
                  <a:cubicBezTo>
                    <a:pt x="951" y="717"/>
                    <a:pt x="951" y="717"/>
                    <a:pt x="951" y="717"/>
                  </a:cubicBezTo>
                  <a:cubicBezTo>
                    <a:pt x="951" y="677"/>
                    <a:pt x="951" y="677"/>
                    <a:pt x="951" y="677"/>
                  </a:cubicBezTo>
                  <a:cubicBezTo>
                    <a:pt x="992" y="677"/>
                    <a:pt x="992" y="677"/>
                    <a:pt x="992" y="677"/>
                  </a:cubicBezTo>
                  <a:lnTo>
                    <a:pt x="992" y="717"/>
                  </a:lnTo>
                  <a:close/>
                  <a:moveTo>
                    <a:pt x="1025" y="856"/>
                  </a:moveTo>
                  <a:cubicBezTo>
                    <a:pt x="1025" y="816"/>
                    <a:pt x="1025" y="816"/>
                    <a:pt x="1025" y="816"/>
                  </a:cubicBezTo>
                  <a:cubicBezTo>
                    <a:pt x="1066" y="816"/>
                    <a:pt x="1066" y="816"/>
                    <a:pt x="1066" y="816"/>
                  </a:cubicBezTo>
                  <a:cubicBezTo>
                    <a:pt x="1066" y="856"/>
                    <a:pt x="1066" y="856"/>
                    <a:pt x="1066" y="856"/>
                  </a:cubicBezTo>
                  <a:lnTo>
                    <a:pt x="1025" y="856"/>
                  </a:lnTo>
                  <a:close/>
                  <a:moveTo>
                    <a:pt x="145" y="1142"/>
                  </a:moveTo>
                  <a:cubicBezTo>
                    <a:pt x="145" y="1125"/>
                    <a:pt x="159" y="1111"/>
                    <a:pt x="176" y="1111"/>
                  </a:cubicBezTo>
                  <a:cubicBezTo>
                    <a:pt x="519" y="1111"/>
                    <a:pt x="519" y="1111"/>
                    <a:pt x="519" y="1111"/>
                  </a:cubicBezTo>
                  <a:cubicBezTo>
                    <a:pt x="535" y="1111"/>
                    <a:pt x="549" y="1125"/>
                    <a:pt x="549" y="1142"/>
                  </a:cubicBezTo>
                  <a:cubicBezTo>
                    <a:pt x="549" y="1377"/>
                    <a:pt x="549" y="1377"/>
                    <a:pt x="549" y="1377"/>
                  </a:cubicBezTo>
                  <a:cubicBezTo>
                    <a:pt x="549" y="1393"/>
                    <a:pt x="535" y="1407"/>
                    <a:pt x="519" y="1407"/>
                  </a:cubicBezTo>
                  <a:cubicBezTo>
                    <a:pt x="176" y="1407"/>
                    <a:pt x="176" y="1407"/>
                    <a:pt x="176" y="1407"/>
                  </a:cubicBezTo>
                  <a:cubicBezTo>
                    <a:pt x="159" y="1407"/>
                    <a:pt x="145" y="1393"/>
                    <a:pt x="145" y="1377"/>
                  </a:cubicBezTo>
                  <a:lnTo>
                    <a:pt x="145" y="1142"/>
                  </a:lnTo>
                  <a:close/>
                  <a:moveTo>
                    <a:pt x="596" y="1488"/>
                  </a:moveTo>
                  <a:cubicBezTo>
                    <a:pt x="589" y="1480"/>
                    <a:pt x="576" y="1474"/>
                    <a:pt x="566" y="1474"/>
                  </a:cubicBezTo>
                  <a:cubicBezTo>
                    <a:pt x="128" y="1474"/>
                    <a:pt x="128" y="1474"/>
                    <a:pt x="128" y="1474"/>
                  </a:cubicBezTo>
                  <a:cubicBezTo>
                    <a:pt x="118" y="1474"/>
                    <a:pt x="105" y="1480"/>
                    <a:pt x="99" y="1488"/>
                  </a:cubicBezTo>
                  <a:cubicBezTo>
                    <a:pt x="12" y="1590"/>
                    <a:pt x="12" y="1590"/>
                    <a:pt x="12" y="1590"/>
                  </a:cubicBezTo>
                  <a:cubicBezTo>
                    <a:pt x="5" y="1598"/>
                    <a:pt x="0" y="1612"/>
                    <a:pt x="0" y="1622"/>
                  </a:cubicBezTo>
                  <a:cubicBezTo>
                    <a:pt x="0" y="1630"/>
                    <a:pt x="0" y="1630"/>
                    <a:pt x="0" y="1630"/>
                  </a:cubicBezTo>
                  <a:cubicBezTo>
                    <a:pt x="0" y="1640"/>
                    <a:pt x="8" y="1649"/>
                    <a:pt x="18" y="1649"/>
                  </a:cubicBezTo>
                  <a:cubicBezTo>
                    <a:pt x="676" y="1649"/>
                    <a:pt x="676" y="1649"/>
                    <a:pt x="676" y="1649"/>
                  </a:cubicBezTo>
                  <a:cubicBezTo>
                    <a:pt x="686" y="1649"/>
                    <a:pt x="694" y="1640"/>
                    <a:pt x="694" y="1630"/>
                  </a:cubicBezTo>
                  <a:cubicBezTo>
                    <a:pt x="694" y="1622"/>
                    <a:pt x="694" y="1622"/>
                    <a:pt x="694" y="1622"/>
                  </a:cubicBezTo>
                  <a:cubicBezTo>
                    <a:pt x="694" y="1612"/>
                    <a:pt x="689" y="1598"/>
                    <a:pt x="683" y="1590"/>
                  </a:cubicBezTo>
                  <a:lnTo>
                    <a:pt x="596" y="1488"/>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sp>
          <p:nvSpPr>
            <p:cNvPr id="6" name="Freeform 86"/>
            <p:cNvSpPr>
              <a:spLocks noEditPoints="1"/>
            </p:cNvSpPr>
            <p:nvPr/>
          </p:nvSpPr>
          <p:spPr bwMode="black">
            <a:xfrm>
              <a:off x="3422650" y="3873500"/>
              <a:ext cx="168275" cy="142875"/>
            </a:xfrm>
            <a:custGeom>
              <a:avLst/>
              <a:gdLst>
                <a:gd name="T0" fmla="*/ 682 w 694"/>
                <a:gd name="T1" fmla="*/ 58 h 588"/>
                <a:gd name="T2" fmla="*/ 694 w 694"/>
                <a:gd name="T3" fmla="*/ 26 h 588"/>
                <a:gd name="T4" fmla="*/ 694 w 694"/>
                <a:gd name="T5" fmla="*/ 18 h 588"/>
                <a:gd name="T6" fmla="*/ 676 w 694"/>
                <a:gd name="T7" fmla="*/ 0 h 588"/>
                <a:gd name="T8" fmla="*/ 18 w 694"/>
                <a:gd name="T9" fmla="*/ 0 h 588"/>
                <a:gd name="T10" fmla="*/ 0 w 694"/>
                <a:gd name="T11" fmla="*/ 18 h 588"/>
                <a:gd name="T12" fmla="*/ 0 w 694"/>
                <a:gd name="T13" fmla="*/ 26 h 588"/>
                <a:gd name="T14" fmla="*/ 11 w 694"/>
                <a:gd name="T15" fmla="*/ 58 h 588"/>
                <a:gd name="T16" fmla="*/ 98 w 694"/>
                <a:gd name="T17" fmla="*/ 160 h 588"/>
                <a:gd name="T18" fmla="*/ 128 w 694"/>
                <a:gd name="T19" fmla="*/ 174 h 588"/>
                <a:gd name="T20" fmla="*/ 565 w 694"/>
                <a:gd name="T21" fmla="*/ 174 h 588"/>
                <a:gd name="T22" fmla="*/ 595 w 694"/>
                <a:gd name="T23" fmla="*/ 160 h 588"/>
                <a:gd name="T24" fmla="*/ 682 w 694"/>
                <a:gd name="T25" fmla="*/ 58 h 588"/>
                <a:gd name="T26" fmla="*/ 387 w 694"/>
                <a:gd name="T27" fmla="*/ 588 h 588"/>
                <a:gd name="T28" fmla="*/ 387 w 694"/>
                <a:gd name="T29" fmla="*/ 579 h 588"/>
                <a:gd name="T30" fmla="*/ 518 w 694"/>
                <a:gd name="T31" fmla="*/ 579 h 588"/>
                <a:gd name="T32" fmla="*/ 591 w 694"/>
                <a:gd name="T33" fmla="*/ 507 h 588"/>
                <a:gd name="T34" fmla="*/ 591 w 694"/>
                <a:gd name="T35" fmla="*/ 272 h 588"/>
                <a:gd name="T36" fmla="*/ 518 w 694"/>
                <a:gd name="T37" fmla="*/ 199 h 588"/>
                <a:gd name="T38" fmla="*/ 175 w 694"/>
                <a:gd name="T39" fmla="*/ 199 h 588"/>
                <a:gd name="T40" fmla="*/ 103 w 694"/>
                <a:gd name="T41" fmla="*/ 272 h 588"/>
                <a:gd name="T42" fmla="*/ 103 w 694"/>
                <a:gd name="T43" fmla="*/ 507 h 588"/>
                <a:gd name="T44" fmla="*/ 175 w 694"/>
                <a:gd name="T45" fmla="*/ 579 h 588"/>
                <a:gd name="T46" fmla="*/ 307 w 694"/>
                <a:gd name="T47" fmla="*/ 579 h 588"/>
                <a:gd name="T48" fmla="*/ 307 w 694"/>
                <a:gd name="T49" fmla="*/ 588 h 588"/>
                <a:gd name="T50" fmla="*/ 387 w 694"/>
                <a:gd name="T51" fmla="*/ 588 h 588"/>
                <a:gd name="T52" fmla="*/ 175 w 694"/>
                <a:gd name="T53" fmla="*/ 537 h 588"/>
                <a:gd name="T54" fmla="*/ 145 w 694"/>
                <a:gd name="T55" fmla="*/ 507 h 588"/>
                <a:gd name="T56" fmla="*/ 145 w 694"/>
                <a:gd name="T57" fmla="*/ 272 h 588"/>
                <a:gd name="T58" fmla="*/ 175 w 694"/>
                <a:gd name="T59" fmla="*/ 242 h 588"/>
                <a:gd name="T60" fmla="*/ 518 w 694"/>
                <a:gd name="T61" fmla="*/ 242 h 588"/>
                <a:gd name="T62" fmla="*/ 549 w 694"/>
                <a:gd name="T63" fmla="*/ 272 h 588"/>
                <a:gd name="T64" fmla="*/ 549 w 694"/>
                <a:gd name="T65" fmla="*/ 507 h 588"/>
                <a:gd name="T66" fmla="*/ 518 w 694"/>
                <a:gd name="T67" fmla="*/ 537 h 588"/>
                <a:gd name="T68" fmla="*/ 175 w 694"/>
                <a:gd name="T69" fmla="*/ 537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4" h="588">
                  <a:moveTo>
                    <a:pt x="682" y="58"/>
                  </a:moveTo>
                  <a:cubicBezTo>
                    <a:pt x="689" y="51"/>
                    <a:pt x="694" y="36"/>
                    <a:pt x="694" y="26"/>
                  </a:cubicBezTo>
                  <a:cubicBezTo>
                    <a:pt x="694" y="18"/>
                    <a:pt x="694" y="18"/>
                    <a:pt x="694" y="18"/>
                  </a:cubicBezTo>
                  <a:cubicBezTo>
                    <a:pt x="694" y="8"/>
                    <a:pt x="686" y="0"/>
                    <a:pt x="676" y="0"/>
                  </a:cubicBezTo>
                  <a:cubicBezTo>
                    <a:pt x="18" y="0"/>
                    <a:pt x="18" y="0"/>
                    <a:pt x="18" y="0"/>
                  </a:cubicBezTo>
                  <a:cubicBezTo>
                    <a:pt x="8" y="0"/>
                    <a:pt x="0" y="8"/>
                    <a:pt x="0" y="18"/>
                  </a:cubicBezTo>
                  <a:cubicBezTo>
                    <a:pt x="0" y="26"/>
                    <a:pt x="0" y="26"/>
                    <a:pt x="0" y="26"/>
                  </a:cubicBezTo>
                  <a:cubicBezTo>
                    <a:pt x="0" y="36"/>
                    <a:pt x="5" y="51"/>
                    <a:pt x="11" y="58"/>
                  </a:cubicBezTo>
                  <a:cubicBezTo>
                    <a:pt x="98" y="160"/>
                    <a:pt x="98" y="160"/>
                    <a:pt x="98" y="160"/>
                  </a:cubicBezTo>
                  <a:cubicBezTo>
                    <a:pt x="105" y="168"/>
                    <a:pt x="118" y="174"/>
                    <a:pt x="128" y="174"/>
                  </a:cubicBezTo>
                  <a:cubicBezTo>
                    <a:pt x="565" y="174"/>
                    <a:pt x="565" y="174"/>
                    <a:pt x="565" y="174"/>
                  </a:cubicBezTo>
                  <a:cubicBezTo>
                    <a:pt x="575" y="174"/>
                    <a:pt x="589" y="168"/>
                    <a:pt x="595" y="160"/>
                  </a:cubicBezTo>
                  <a:lnTo>
                    <a:pt x="682" y="58"/>
                  </a:lnTo>
                  <a:close/>
                  <a:moveTo>
                    <a:pt x="387" y="588"/>
                  </a:moveTo>
                  <a:cubicBezTo>
                    <a:pt x="387" y="582"/>
                    <a:pt x="387" y="579"/>
                    <a:pt x="387" y="579"/>
                  </a:cubicBezTo>
                  <a:cubicBezTo>
                    <a:pt x="518" y="579"/>
                    <a:pt x="518" y="579"/>
                    <a:pt x="518" y="579"/>
                  </a:cubicBezTo>
                  <a:cubicBezTo>
                    <a:pt x="558" y="579"/>
                    <a:pt x="591" y="547"/>
                    <a:pt x="591" y="507"/>
                  </a:cubicBezTo>
                  <a:cubicBezTo>
                    <a:pt x="591" y="272"/>
                    <a:pt x="591" y="272"/>
                    <a:pt x="591" y="272"/>
                  </a:cubicBezTo>
                  <a:cubicBezTo>
                    <a:pt x="591" y="232"/>
                    <a:pt x="558" y="199"/>
                    <a:pt x="518" y="199"/>
                  </a:cubicBezTo>
                  <a:cubicBezTo>
                    <a:pt x="175" y="199"/>
                    <a:pt x="175" y="199"/>
                    <a:pt x="175" y="199"/>
                  </a:cubicBezTo>
                  <a:cubicBezTo>
                    <a:pt x="135" y="199"/>
                    <a:pt x="103" y="232"/>
                    <a:pt x="103" y="272"/>
                  </a:cubicBezTo>
                  <a:cubicBezTo>
                    <a:pt x="103" y="507"/>
                    <a:pt x="103" y="507"/>
                    <a:pt x="103" y="507"/>
                  </a:cubicBezTo>
                  <a:cubicBezTo>
                    <a:pt x="103" y="547"/>
                    <a:pt x="135" y="579"/>
                    <a:pt x="175" y="579"/>
                  </a:cubicBezTo>
                  <a:cubicBezTo>
                    <a:pt x="307" y="579"/>
                    <a:pt x="307" y="579"/>
                    <a:pt x="307" y="579"/>
                  </a:cubicBezTo>
                  <a:cubicBezTo>
                    <a:pt x="307" y="579"/>
                    <a:pt x="307" y="582"/>
                    <a:pt x="307" y="588"/>
                  </a:cubicBezTo>
                  <a:lnTo>
                    <a:pt x="387" y="588"/>
                  </a:lnTo>
                  <a:close/>
                  <a:moveTo>
                    <a:pt x="175" y="537"/>
                  </a:moveTo>
                  <a:cubicBezTo>
                    <a:pt x="159" y="537"/>
                    <a:pt x="145" y="523"/>
                    <a:pt x="145" y="507"/>
                  </a:cubicBezTo>
                  <a:cubicBezTo>
                    <a:pt x="145" y="272"/>
                    <a:pt x="145" y="272"/>
                    <a:pt x="145" y="272"/>
                  </a:cubicBezTo>
                  <a:cubicBezTo>
                    <a:pt x="145" y="255"/>
                    <a:pt x="159" y="242"/>
                    <a:pt x="175" y="242"/>
                  </a:cubicBezTo>
                  <a:cubicBezTo>
                    <a:pt x="518" y="242"/>
                    <a:pt x="518" y="242"/>
                    <a:pt x="518" y="242"/>
                  </a:cubicBezTo>
                  <a:cubicBezTo>
                    <a:pt x="535" y="242"/>
                    <a:pt x="549" y="255"/>
                    <a:pt x="549" y="272"/>
                  </a:cubicBezTo>
                  <a:cubicBezTo>
                    <a:pt x="549" y="507"/>
                    <a:pt x="549" y="507"/>
                    <a:pt x="549" y="507"/>
                  </a:cubicBezTo>
                  <a:cubicBezTo>
                    <a:pt x="549" y="523"/>
                    <a:pt x="535" y="537"/>
                    <a:pt x="518" y="537"/>
                  </a:cubicBezTo>
                  <a:lnTo>
                    <a:pt x="175" y="537"/>
                  </a:lnTo>
                  <a:close/>
                </a:path>
              </a:pathLst>
            </a:custGeom>
            <a:grpFill/>
            <a:ln>
              <a:noFill/>
            </a:ln>
          </p:spPr>
          <p:txBody>
            <a:bodyPr vert="horz" wrap="square" lIns="91440" tIns="45720" rIns="91440" bIns="45720" numCol="1" anchor="t" anchorCtr="0" compatLnSpc="1">
              <a:prstTxWarp prst="textNoShape">
                <a:avLst/>
              </a:prstTxWarp>
            </a:bodyPr>
            <a:lstStyle/>
            <a:p>
              <a:endParaRPr lang="en-US" sz="1200"/>
            </a:p>
          </p:txBody>
        </p:sp>
      </p:grpSp>
      <p:sp>
        <p:nvSpPr>
          <p:cNvPr id="3" name="Content Placeholder 2"/>
          <p:cNvSpPr>
            <a:spLocks noGrp="1"/>
          </p:cNvSpPr>
          <p:nvPr>
            <p:ph type="body" sz="quarter" idx="10"/>
          </p:nvPr>
        </p:nvSpPr>
        <p:spPr>
          <a:xfrm>
            <a:off x="3733800" y="1885127"/>
            <a:ext cx="4582887" cy="498598"/>
          </a:xfrm>
        </p:spPr>
        <p:txBody>
          <a:bodyPr/>
          <a:lstStyle/>
          <a:p>
            <a:pPr>
              <a:spcAft>
                <a:spcPts val="0"/>
              </a:spcAft>
            </a:pPr>
            <a:r>
              <a:rPr lang="en-US" sz="2400" dirty="0">
                <a:solidFill>
                  <a:schemeClr val="tx2">
                    <a:alpha val="99000"/>
                  </a:schemeClr>
                </a:solidFill>
                <a:latin typeface="+mj-lt"/>
              </a:rPr>
              <a:t>99.9% for single role instances</a:t>
            </a:r>
          </a:p>
          <a:p>
            <a:pPr lvl="1"/>
            <a:r>
              <a:rPr lang="en-US" sz="1200" dirty="0">
                <a:solidFill>
                  <a:schemeClr val="tx1">
                    <a:alpha val="99000"/>
                  </a:schemeClr>
                </a:solidFill>
              </a:rPr>
              <a:t>8.75 hours of downtime per year</a:t>
            </a:r>
          </a:p>
        </p:txBody>
      </p:sp>
      <p:sp>
        <p:nvSpPr>
          <p:cNvPr id="12" name="Content Placeholder 2"/>
          <p:cNvSpPr txBox="1">
            <a:spLocks/>
          </p:cNvSpPr>
          <p:nvPr/>
        </p:nvSpPr>
        <p:spPr>
          <a:xfrm>
            <a:off x="3733800" y="2567341"/>
            <a:ext cx="5627915" cy="997196"/>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What’s included</a:t>
            </a:r>
          </a:p>
          <a:p>
            <a:pPr lvl="1"/>
            <a:r>
              <a:rPr lang="en-US" sz="1200" dirty="0">
                <a:solidFill>
                  <a:schemeClr val="tx1">
                    <a:alpha val="99000"/>
                  </a:schemeClr>
                </a:solidFill>
              </a:rPr>
              <a:t>Compute Hardware failure (disk, </a:t>
            </a:r>
            <a:r>
              <a:rPr lang="en-US" sz="1200" dirty="0" err="1">
                <a:solidFill>
                  <a:schemeClr val="tx1">
                    <a:alpha val="99000"/>
                  </a:schemeClr>
                </a:solidFill>
              </a:rPr>
              <a:t>cpu</a:t>
            </a:r>
            <a:r>
              <a:rPr lang="en-US" sz="1200" dirty="0">
                <a:solidFill>
                  <a:schemeClr val="tx1">
                    <a:alpha val="99000"/>
                  </a:schemeClr>
                </a:solidFill>
              </a:rPr>
              <a:t>, memory)</a:t>
            </a:r>
          </a:p>
          <a:p>
            <a:pPr lvl="1"/>
            <a:r>
              <a:rPr lang="en-US" sz="1200" dirty="0">
                <a:solidFill>
                  <a:schemeClr val="tx1">
                    <a:alpha val="99000"/>
                  </a:schemeClr>
                </a:solidFill>
              </a:rPr>
              <a:t>Datacenter failures - Network failure, power failure</a:t>
            </a:r>
          </a:p>
          <a:p>
            <a:pPr lvl="1"/>
            <a:r>
              <a:rPr lang="en-US" sz="1200" dirty="0">
                <a:solidFill>
                  <a:schemeClr val="tx1">
                    <a:alpha val="99000"/>
                  </a:schemeClr>
                </a:solidFill>
              </a:rPr>
              <a:t>Hardware upgrades, Software maintenance – Host OS Updates</a:t>
            </a:r>
          </a:p>
          <a:p>
            <a:pPr lvl="1"/>
            <a:r>
              <a:rPr lang="en-US" sz="1200" dirty="0">
                <a:solidFill>
                  <a:schemeClr val="tx1">
                    <a:alpha val="99000"/>
                  </a:schemeClr>
                </a:solidFill>
              </a:rPr>
              <a:t>Planned downtime – 6 day notice, 6 hour window, 25 minute downtime</a:t>
            </a:r>
          </a:p>
        </p:txBody>
      </p:sp>
      <p:sp>
        <p:nvSpPr>
          <p:cNvPr id="13" name="Content Placeholder 2"/>
          <p:cNvSpPr txBox="1">
            <a:spLocks/>
          </p:cNvSpPr>
          <p:nvPr/>
        </p:nvSpPr>
        <p:spPr>
          <a:xfrm>
            <a:off x="3733799" y="3721139"/>
            <a:ext cx="4789716" cy="49859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What is not included</a:t>
            </a:r>
          </a:p>
          <a:p>
            <a:pPr lvl="1"/>
            <a:r>
              <a:rPr lang="en-US" sz="1200" dirty="0">
                <a:solidFill>
                  <a:schemeClr val="tx1">
                    <a:alpha val="99000"/>
                  </a:schemeClr>
                </a:solidFill>
              </a:rPr>
              <a:t>VM </a:t>
            </a:r>
            <a:r>
              <a:rPr lang="en-US" sz="1200" dirty="0" smtClean="0">
                <a:solidFill>
                  <a:schemeClr val="tx1">
                    <a:alpha val="99000"/>
                  </a:schemeClr>
                </a:solidFill>
              </a:rPr>
              <a:t>crashes caused by 3</a:t>
            </a:r>
            <a:r>
              <a:rPr lang="en-US" sz="1200" baseline="30000" dirty="0" smtClean="0">
                <a:solidFill>
                  <a:schemeClr val="tx1">
                    <a:alpha val="99000"/>
                  </a:schemeClr>
                </a:solidFill>
              </a:rPr>
              <a:t>rd</a:t>
            </a:r>
            <a:r>
              <a:rPr lang="en-US" sz="1200" dirty="0" smtClean="0">
                <a:solidFill>
                  <a:schemeClr val="tx1">
                    <a:alpha val="99000"/>
                  </a:schemeClr>
                </a:solidFill>
              </a:rPr>
              <a:t> </a:t>
            </a:r>
            <a:r>
              <a:rPr lang="en-US" sz="1200" smtClean="0">
                <a:solidFill>
                  <a:schemeClr val="tx1">
                    <a:alpha val="99000"/>
                  </a:schemeClr>
                </a:solidFill>
              </a:rPr>
              <a:t>party software, </a:t>
            </a:r>
            <a:r>
              <a:rPr lang="en-US" sz="1200" dirty="0">
                <a:solidFill>
                  <a:schemeClr val="tx1">
                    <a:alpha val="99000"/>
                  </a:schemeClr>
                </a:solidFill>
              </a:rPr>
              <a:t>Guest OS Updates</a:t>
            </a:r>
          </a:p>
        </p:txBody>
      </p:sp>
      <p:sp>
        <p:nvSpPr>
          <p:cNvPr id="14" name="Content Placeholder 2"/>
          <p:cNvSpPr txBox="1">
            <a:spLocks/>
          </p:cNvSpPr>
          <p:nvPr/>
        </p:nvSpPr>
        <p:spPr>
          <a:xfrm>
            <a:off x="3733800" y="1239533"/>
            <a:ext cx="4789715" cy="498598"/>
          </a:xfrm>
          <a:prstGeom prst="rect">
            <a:avLst/>
          </a:prstGeom>
        </p:spPr>
        <p:txBody>
          <a:bodyPr vert="horz" wrap="square"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400" dirty="0">
                <a:solidFill>
                  <a:schemeClr val="tx2">
                    <a:alpha val="99000"/>
                  </a:schemeClr>
                </a:solidFill>
                <a:latin typeface="+mj-lt"/>
              </a:rPr>
              <a:t>99.95% for multiple role instances</a:t>
            </a:r>
          </a:p>
          <a:p>
            <a:pPr lvl="1"/>
            <a:r>
              <a:rPr lang="en-US" sz="1200" dirty="0">
                <a:solidFill>
                  <a:schemeClr val="tx1">
                    <a:alpha val="99000"/>
                  </a:schemeClr>
                </a:solidFill>
              </a:rPr>
              <a:t>4.38 hours of downtime per year</a:t>
            </a:r>
          </a:p>
        </p:txBody>
      </p:sp>
    </p:spTree>
    <p:extLst>
      <p:ext uri="{BB962C8B-B14F-4D97-AF65-F5344CB8AC3E}">
        <p14:creationId xmlns:p14="http://schemas.microsoft.com/office/powerpoint/2010/main" val="37797662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bwMode="auto">
          <a:xfrm>
            <a:off x="389436" y="1118779"/>
            <a:ext cx="8242936" cy="3246393"/>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8" tIns="45718" rIns="45718" bIns="45718"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NZ" dirty="0" smtClean="0"/>
              <a:t>Fault and Update Domains</a:t>
            </a:r>
            <a:endParaRPr lang="en-NZ" dirty="0"/>
          </a:p>
        </p:txBody>
      </p:sp>
      <p:sp>
        <p:nvSpPr>
          <p:cNvPr id="3" name="Text Placeholder 2"/>
          <p:cNvSpPr>
            <a:spLocks noGrp="1"/>
          </p:cNvSpPr>
          <p:nvPr>
            <p:ph type="body" sz="quarter" idx="10"/>
          </p:nvPr>
        </p:nvSpPr>
        <p:spPr>
          <a:xfrm>
            <a:off x="3875314" y="1215722"/>
            <a:ext cx="4997806" cy="3019288"/>
          </a:xfrm>
        </p:spPr>
        <p:txBody>
          <a:bodyPr/>
          <a:lstStyle/>
          <a:p>
            <a:pPr>
              <a:spcAft>
                <a:spcPts val="0"/>
              </a:spcAft>
            </a:pPr>
            <a:r>
              <a:rPr lang="en-NZ" sz="2400" dirty="0">
                <a:solidFill>
                  <a:schemeClr val="tx2">
                    <a:alpha val="99000"/>
                  </a:schemeClr>
                </a:solidFill>
                <a:latin typeface="+mj-lt"/>
              </a:rPr>
              <a:t>Fault Domains</a:t>
            </a:r>
          </a:p>
          <a:p>
            <a:pPr marL="2381" lvl="1"/>
            <a:r>
              <a:rPr lang="en-NZ" sz="1400" dirty="0">
                <a:solidFill>
                  <a:schemeClr val="tx1">
                    <a:alpha val="99000"/>
                  </a:schemeClr>
                </a:solidFill>
              </a:rPr>
              <a:t>Represent groups of  resources anticipated to fail together</a:t>
            </a:r>
          </a:p>
          <a:p>
            <a:pPr marL="2381" lvl="1"/>
            <a:r>
              <a:rPr lang="en-NZ" sz="1400" dirty="0">
                <a:solidFill>
                  <a:schemeClr val="tx1">
                    <a:alpha val="99000"/>
                  </a:schemeClr>
                </a:solidFill>
              </a:rPr>
              <a:t>i.e. Same rack, same server</a:t>
            </a:r>
          </a:p>
          <a:p>
            <a:pPr marL="2381" lvl="1"/>
            <a:r>
              <a:rPr lang="en-NZ" sz="1400" dirty="0">
                <a:solidFill>
                  <a:schemeClr val="tx1">
                    <a:alpha val="99000"/>
                  </a:schemeClr>
                </a:solidFill>
              </a:rPr>
              <a:t>Fabric spreads instances across fault at least 2 fault domains</a:t>
            </a:r>
          </a:p>
          <a:p>
            <a:pPr lvl="1"/>
            <a:endParaRPr lang="en-NZ" sz="1100" dirty="0"/>
          </a:p>
          <a:p>
            <a:pPr>
              <a:spcAft>
                <a:spcPts val="0"/>
              </a:spcAft>
            </a:pPr>
            <a:r>
              <a:rPr lang="en-NZ" sz="2400" dirty="0">
                <a:solidFill>
                  <a:schemeClr val="tx2">
                    <a:alpha val="99000"/>
                  </a:schemeClr>
                </a:solidFill>
                <a:latin typeface="+mj-lt"/>
              </a:rPr>
              <a:t>Update Domains</a:t>
            </a:r>
          </a:p>
          <a:p>
            <a:pPr marL="2381" lvl="1"/>
            <a:r>
              <a:rPr lang="en-NZ" sz="1400" dirty="0">
                <a:solidFill>
                  <a:schemeClr val="tx1">
                    <a:alpha val="99000"/>
                  </a:schemeClr>
                </a:solidFill>
              </a:rPr>
              <a:t>Represents groups of resources that will be updated together</a:t>
            </a:r>
          </a:p>
          <a:p>
            <a:pPr marL="2381" lvl="1"/>
            <a:r>
              <a:rPr lang="en-NZ" sz="1400" dirty="0">
                <a:solidFill>
                  <a:schemeClr val="tx1">
                    <a:alpha val="99000"/>
                  </a:schemeClr>
                </a:solidFill>
              </a:rPr>
              <a:t>Host OS updates honour service update domains</a:t>
            </a:r>
          </a:p>
          <a:p>
            <a:pPr marL="2381" lvl="1"/>
            <a:r>
              <a:rPr lang="en-NZ" sz="1400" dirty="0">
                <a:solidFill>
                  <a:schemeClr val="tx1">
                    <a:alpha val="99000"/>
                  </a:schemeClr>
                </a:solidFill>
              </a:rPr>
              <a:t>Specified in service definition</a:t>
            </a:r>
          </a:p>
          <a:p>
            <a:pPr marL="2381" lvl="1"/>
            <a:r>
              <a:rPr lang="en-NZ" sz="1400" dirty="0">
                <a:solidFill>
                  <a:schemeClr val="tx1">
                    <a:alpha val="99000"/>
                  </a:schemeClr>
                </a:solidFill>
              </a:rPr>
              <a:t>Default of 5 (up to 20)</a:t>
            </a:r>
          </a:p>
          <a:p>
            <a:pPr lvl="1"/>
            <a:endParaRPr lang="en-NZ" sz="1200" dirty="0"/>
          </a:p>
          <a:p>
            <a:pPr>
              <a:spcAft>
                <a:spcPts val="0"/>
              </a:spcAft>
            </a:pPr>
            <a:r>
              <a:rPr lang="en-NZ" sz="2400" dirty="0">
                <a:solidFill>
                  <a:schemeClr val="tx2">
                    <a:alpha val="99000"/>
                  </a:schemeClr>
                </a:solidFill>
                <a:latin typeface="+mj-lt"/>
              </a:rPr>
              <a:t>Fabric spreads role instances across Update Domains and Fault Domains</a:t>
            </a:r>
          </a:p>
        </p:txBody>
      </p:sp>
      <p:grpSp>
        <p:nvGrpSpPr>
          <p:cNvPr id="5" name="Group 4"/>
          <p:cNvGrpSpPr/>
          <p:nvPr/>
        </p:nvGrpSpPr>
        <p:grpSpPr>
          <a:xfrm>
            <a:off x="389437" y="1140883"/>
            <a:ext cx="3246393" cy="3246393"/>
            <a:chOff x="389436" y="1066800"/>
            <a:chExt cx="1371600" cy="1371600"/>
          </a:xfrm>
        </p:grpSpPr>
        <p:sp>
          <p:nvSpPr>
            <p:cNvPr id="4" name="Rectangle 3"/>
            <p:cNvSpPr/>
            <p:nvPr/>
          </p:nvSpPr>
          <p:spPr bwMode="auto">
            <a:xfrm>
              <a:off x="389436" y="1066800"/>
              <a:ext cx="1371600" cy="13716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61"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Freeform 11"/>
            <p:cNvSpPr>
              <a:spLocks noEditPoints="1"/>
            </p:cNvSpPr>
            <p:nvPr/>
          </p:nvSpPr>
          <p:spPr bwMode="black">
            <a:xfrm>
              <a:off x="674468" y="1361380"/>
              <a:ext cx="801535" cy="801118"/>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chemeClr val="bg1"/>
            </a:solidFill>
            <a:ln>
              <a:noFill/>
            </a:ln>
          </p:spPr>
          <p:txBody>
            <a:bodyPr vert="horz" wrap="square" lIns="61735" tIns="30867" rIns="61735" bIns="30867" numCol="1" anchor="t" anchorCtr="0" compatLnSpc="1">
              <a:prstTxWarp prst="textNoShape">
                <a:avLst/>
              </a:prstTxWarp>
            </a:bodyPr>
            <a:lstStyle/>
            <a:p>
              <a:endParaRPr lang="en-US" sz="1200" dirty="0"/>
            </a:p>
          </p:txBody>
        </p:sp>
      </p:grpSp>
    </p:spTree>
    <p:extLst>
      <p:ext uri="{BB962C8B-B14F-4D97-AF65-F5344CB8AC3E}">
        <p14:creationId xmlns:p14="http://schemas.microsoft.com/office/powerpoint/2010/main" val="1695290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389436" y="1118779"/>
            <a:ext cx="8242936" cy="3581810"/>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6" tIns="45716" rIns="45716" bIns="45716" numCol="1" spcCol="0" rtlCol="0" fromWordArt="0" anchor="ctr" anchorCtr="0" forceAA="0" compatLnSpc="1">
            <a:prstTxWarp prst="textNoShape">
              <a:avLst/>
            </a:prstTxWarp>
            <a:noAutofit/>
          </a:bodyPr>
          <a:lstStyle/>
          <a:p>
            <a:pPr algn="ctr" defTabSz="914023"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custDataLst>
              <p:tags r:id="rId1"/>
            </p:custDataLst>
          </p:nvPr>
        </p:nvSpPr>
        <p:spPr bwMode="auto">
          <a:xfrm>
            <a:off x="5428710" y="1118779"/>
            <a:ext cx="1998800" cy="3581810"/>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914096" fontAlgn="base">
              <a:spcBef>
                <a:spcPct val="0"/>
              </a:spcBef>
              <a:spcAft>
                <a:spcPct val="0"/>
              </a:spcAft>
            </a:pPr>
            <a:r>
              <a:rPr lang="en-US" sz="1600" dirty="0">
                <a:ln>
                  <a:solidFill>
                    <a:srgbClr val="FFFFFF">
                      <a:alpha val="0"/>
                    </a:srgbClr>
                  </a:solidFill>
                </a:ln>
                <a:solidFill>
                  <a:srgbClr val="5F5F5F">
                    <a:alpha val="99000"/>
                  </a:srgbClr>
                </a:solidFill>
              </a:rPr>
              <a:t>Fault Domain</a:t>
            </a:r>
          </a:p>
        </p:txBody>
      </p:sp>
      <p:sp>
        <p:nvSpPr>
          <p:cNvPr id="12" name="Rectangle 11"/>
          <p:cNvSpPr/>
          <p:nvPr>
            <p:custDataLst>
              <p:tags r:id="rId2"/>
            </p:custDataLst>
          </p:nvPr>
        </p:nvSpPr>
        <p:spPr bwMode="auto">
          <a:xfrm>
            <a:off x="5547771" y="143837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91" rIns="68553" bIns="34277" numCol="1" spcCol="0" rtlCol="0" anchor="t" anchorCtr="0" compatLnSpc="1">
            <a:prstTxWarp prst="textNoShape">
              <a:avLst/>
            </a:prstTxWarp>
          </a:bodyPr>
          <a:lstStyle/>
          <a:p>
            <a:pPr algn="ctr" defTabSz="685346" fontAlgn="base">
              <a:spcBef>
                <a:spcPts val="900"/>
              </a:spcBef>
              <a:spcAft>
                <a:spcPct val="0"/>
              </a:spcAft>
            </a:pPr>
            <a:r>
              <a:rPr lang="en-US" sz="1600" dirty="0">
                <a:ln>
                  <a:solidFill>
                    <a:srgbClr val="FFFFFF">
                      <a:alpha val="0"/>
                    </a:srgbClr>
                  </a:solidFill>
                </a:ln>
                <a:solidFill>
                  <a:srgbClr val="5F5F5F">
                    <a:alpha val="99000"/>
                  </a:srgbClr>
                </a:solidFill>
              </a:rPr>
              <a:t>Rack</a:t>
            </a:r>
            <a:endParaRPr lang="en-US" sz="1100" dirty="0">
              <a:ln>
                <a:solidFill>
                  <a:srgbClr val="FFFFFF">
                    <a:alpha val="0"/>
                  </a:srgbClr>
                </a:solidFill>
              </a:ln>
              <a:solidFill>
                <a:srgbClr val="5F5F5F">
                  <a:alpha val="99000"/>
                </a:srgbClr>
              </a:solidFill>
            </a:endParaRPr>
          </a:p>
        </p:txBody>
      </p:sp>
      <p:sp>
        <p:nvSpPr>
          <p:cNvPr id="31" name="Title 30"/>
          <p:cNvSpPr>
            <a:spLocks noGrp="1"/>
          </p:cNvSpPr>
          <p:nvPr>
            <p:ph type="title"/>
          </p:nvPr>
        </p:nvSpPr>
        <p:spPr/>
        <p:txBody>
          <a:bodyPr/>
          <a:lstStyle/>
          <a:p>
            <a:r>
              <a:rPr lang="en-NZ" dirty="0" smtClean="0"/>
              <a:t>Fault and Update Domains</a:t>
            </a:r>
            <a:endParaRPr lang="en-NZ" dirty="0"/>
          </a:p>
        </p:txBody>
      </p:sp>
      <p:sp>
        <p:nvSpPr>
          <p:cNvPr id="3" name="Rectangle 2"/>
          <p:cNvSpPr/>
          <p:nvPr>
            <p:custDataLst>
              <p:tags r:id="rId3"/>
            </p:custDataLst>
          </p:nvPr>
        </p:nvSpPr>
        <p:spPr bwMode="auto">
          <a:xfrm>
            <a:off x="1688492" y="1118779"/>
            <a:ext cx="1998800" cy="3581810"/>
          </a:xfrm>
          <a:prstGeom prst="rect">
            <a:avLst/>
          </a:prstGeom>
          <a:no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914096" fontAlgn="base">
              <a:spcBef>
                <a:spcPct val="0"/>
              </a:spcBef>
              <a:spcAft>
                <a:spcPct val="0"/>
              </a:spcAft>
            </a:pPr>
            <a:r>
              <a:rPr lang="en-US" sz="1600" dirty="0">
                <a:ln>
                  <a:solidFill>
                    <a:srgbClr val="FFFFFF">
                      <a:alpha val="0"/>
                    </a:srgbClr>
                  </a:solidFill>
                </a:ln>
                <a:solidFill>
                  <a:srgbClr val="5F5F5F">
                    <a:alpha val="99000"/>
                  </a:srgbClr>
                </a:solidFill>
              </a:rPr>
              <a:t>Fault Domain</a:t>
            </a:r>
          </a:p>
        </p:txBody>
      </p:sp>
      <p:sp>
        <p:nvSpPr>
          <p:cNvPr id="4" name="Rectangle 3"/>
          <p:cNvSpPr/>
          <p:nvPr>
            <p:custDataLst>
              <p:tags r:id="rId4"/>
            </p:custDataLst>
          </p:nvPr>
        </p:nvSpPr>
        <p:spPr bwMode="auto">
          <a:xfrm>
            <a:off x="1807553" y="143837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3" tIns="34291" rIns="68553" bIns="34277" numCol="1" spcCol="0" rtlCol="0" anchor="t" anchorCtr="0" compatLnSpc="1">
            <a:prstTxWarp prst="textNoShape">
              <a:avLst/>
            </a:prstTxWarp>
          </a:bodyPr>
          <a:lstStyle/>
          <a:p>
            <a:pPr algn="ctr" defTabSz="685346" fontAlgn="base">
              <a:spcBef>
                <a:spcPts val="900"/>
              </a:spcBef>
              <a:spcAft>
                <a:spcPct val="0"/>
              </a:spcAft>
            </a:pPr>
            <a:r>
              <a:rPr lang="en-US" sz="1600" dirty="0">
                <a:ln>
                  <a:solidFill>
                    <a:srgbClr val="FFFFFF">
                      <a:alpha val="0"/>
                    </a:srgbClr>
                  </a:solidFill>
                </a:ln>
                <a:solidFill>
                  <a:srgbClr val="5F5F5F">
                    <a:alpha val="99000"/>
                  </a:srgbClr>
                </a:solidFill>
              </a:rPr>
              <a:t>Rack</a:t>
            </a:r>
            <a:endParaRPr lang="en-US" sz="1100" dirty="0">
              <a:ln>
                <a:solidFill>
                  <a:srgbClr val="FFFFFF">
                    <a:alpha val="0"/>
                  </a:srgbClr>
                </a:solidFill>
              </a:ln>
              <a:solidFill>
                <a:srgbClr val="5F5F5F">
                  <a:alpha val="99000"/>
                </a:srgbClr>
              </a:solidFill>
            </a:endParaRPr>
          </a:p>
        </p:txBody>
      </p:sp>
      <p:sp>
        <p:nvSpPr>
          <p:cNvPr id="5" name="Rectangle 4"/>
          <p:cNvSpPr/>
          <p:nvPr>
            <p:custDataLst>
              <p:tags r:id="rId5"/>
            </p:custDataLst>
          </p:nvPr>
        </p:nvSpPr>
        <p:spPr bwMode="auto">
          <a:xfrm>
            <a:off x="1933316" y="1799416"/>
            <a:ext cx="5249369"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685580" fontAlgn="base">
              <a:spcBef>
                <a:spcPct val="0"/>
              </a:spcBef>
              <a:spcAft>
                <a:spcPct val="0"/>
              </a:spcAft>
            </a:pPr>
            <a:r>
              <a:rPr lang="en-US" sz="1600" dirty="0">
                <a:ln>
                  <a:solidFill>
                    <a:srgbClr val="FFFFFF">
                      <a:alpha val="0"/>
                    </a:srgbClr>
                  </a:solidFill>
                </a:ln>
                <a:solidFill>
                  <a:schemeClr val="bg1">
                    <a:alpha val="99000"/>
                  </a:schemeClr>
                </a:solidFill>
              </a:rPr>
              <a:t>Web Role</a:t>
            </a:r>
          </a:p>
        </p:txBody>
      </p:sp>
      <p:sp>
        <p:nvSpPr>
          <p:cNvPr id="6" name="Rectangle 5"/>
          <p:cNvSpPr/>
          <p:nvPr>
            <p:custDataLst>
              <p:tags r:id="rId6"/>
            </p:custDataLst>
          </p:nvPr>
        </p:nvSpPr>
        <p:spPr bwMode="auto">
          <a:xfrm>
            <a:off x="2139109" y="2137541"/>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7" name="Rectangle 6"/>
          <p:cNvSpPr/>
          <p:nvPr>
            <p:custDataLst>
              <p:tags r:id="rId7"/>
            </p:custDataLst>
          </p:nvPr>
        </p:nvSpPr>
        <p:spPr bwMode="auto">
          <a:xfrm>
            <a:off x="2139109" y="2605298"/>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8" name="Rectangle 7"/>
          <p:cNvSpPr/>
          <p:nvPr>
            <p:custDataLst>
              <p:tags r:id="rId8"/>
            </p:custDataLst>
          </p:nvPr>
        </p:nvSpPr>
        <p:spPr bwMode="auto">
          <a:xfrm>
            <a:off x="1943365" y="3192159"/>
            <a:ext cx="5249369"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t" anchorCtr="0" compatLnSpc="1">
            <a:prstTxWarp prst="textNoShape">
              <a:avLst/>
            </a:prstTxWarp>
          </a:bodyPr>
          <a:lstStyle/>
          <a:p>
            <a:pPr algn="ctr" defTabSz="685580" fontAlgn="base">
              <a:spcBef>
                <a:spcPct val="0"/>
              </a:spcBef>
              <a:spcAft>
                <a:spcPct val="0"/>
              </a:spcAft>
            </a:pPr>
            <a:r>
              <a:rPr lang="en-US" sz="1600" dirty="0">
                <a:ln>
                  <a:solidFill>
                    <a:srgbClr val="FFFFFF">
                      <a:alpha val="0"/>
                    </a:srgbClr>
                  </a:solidFill>
                </a:ln>
                <a:solidFill>
                  <a:schemeClr val="bg1"/>
                </a:solidFill>
              </a:rPr>
              <a:t>Worker Role</a:t>
            </a:r>
          </a:p>
        </p:txBody>
      </p:sp>
      <p:sp>
        <p:nvSpPr>
          <p:cNvPr id="9" name="Rectangle 8"/>
          <p:cNvSpPr/>
          <p:nvPr>
            <p:custDataLst>
              <p:tags r:id="rId9"/>
            </p:custDataLst>
          </p:nvPr>
        </p:nvSpPr>
        <p:spPr bwMode="auto">
          <a:xfrm>
            <a:off x="2139109" y="3530284"/>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0" name="Rectangle 9"/>
          <p:cNvSpPr/>
          <p:nvPr>
            <p:custDataLst>
              <p:tags r:id="rId10"/>
            </p:custDataLst>
          </p:nvPr>
        </p:nvSpPr>
        <p:spPr bwMode="auto">
          <a:xfrm>
            <a:off x="2139109" y="3998042"/>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4" name="Rectangle 13"/>
          <p:cNvSpPr/>
          <p:nvPr>
            <p:custDataLst>
              <p:tags r:id="rId11"/>
            </p:custDataLst>
          </p:nvPr>
        </p:nvSpPr>
        <p:spPr bwMode="auto">
          <a:xfrm>
            <a:off x="5879326" y="2129506"/>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5" name="Rectangle 14"/>
          <p:cNvSpPr/>
          <p:nvPr>
            <p:custDataLst>
              <p:tags r:id="rId12"/>
            </p:custDataLst>
          </p:nvPr>
        </p:nvSpPr>
        <p:spPr bwMode="auto">
          <a:xfrm>
            <a:off x="5879326" y="2605298"/>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7" name="Rectangle 16"/>
          <p:cNvSpPr/>
          <p:nvPr>
            <p:custDataLst>
              <p:tags r:id="rId13"/>
            </p:custDataLst>
          </p:nvPr>
        </p:nvSpPr>
        <p:spPr bwMode="auto">
          <a:xfrm>
            <a:off x="5879326" y="3530284"/>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8" name="Rectangle 17"/>
          <p:cNvSpPr/>
          <p:nvPr>
            <p:custDataLst>
              <p:tags r:id="rId14"/>
            </p:custDataLst>
          </p:nvPr>
        </p:nvSpPr>
        <p:spPr bwMode="auto">
          <a:xfrm>
            <a:off x="5879326" y="3998042"/>
            <a:ext cx="1097566" cy="319535"/>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r>
              <a:rPr lang="en-NZ" sz="1100" b="1" dirty="0">
                <a:ln>
                  <a:solidFill>
                    <a:srgbClr val="FFFFFF">
                      <a:alpha val="0"/>
                    </a:srgbClr>
                  </a:solidFill>
                </a:ln>
                <a:solidFill>
                  <a:srgbClr val="5F5F5F">
                    <a:alpha val="99000"/>
                  </a:srgbClr>
                </a:solidFill>
              </a:rPr>
              <a:t>INSTANCE</a:t>
            </a:r>
          </a:p>
        </p:txBody>
      </p:sp>
      <p:sp>
        <p:nvSpPr>
          <p:cNvPr id="19" name="Rectangle 18"/>
          <p:cNvSpPr/>
          <p:nvPr>
            <p:custDataLst>
              <p:tags r:id="rId15"/>
            </p:custDataLst>
          </p:nvPr>
        </p:nvSpPr>
        <p:spPr bwMode="auto">
          <a:xfrm>
            <a:off x="2011682" y="2054518"/>
            <a:ext cx="1319917" cy="936584"/>
          </a:xfrm>
          <a:prstGeom prst="rect">
            <a:avLst/>
          </a:prstGeom>
          <a:noFill/>
          <a:ln w="19050">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1" name="Rectangle 20"/>
          <p:cNvSpPr/>
          <p:nvPr>
            <p:custDataLst>
              <p:tags r:id="rId16"/>
            </p:custDataLst>
          </p:nvPr>
        </p:nvSpPr>
        <p:spPr bwMode="auto">
          <a:xfrm>
            <a:off x="2011682" y="3466769"/>
            <a:ext cx="1319917" cy="92116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4" name="Rectangle 23"/>
          <p:cNvSpPr/>
          <p:nvPr>
            <p:custDataLst>
              <p:tags r:id="rId17"/>
            </p:custDataLst>
          </p:nvPr>
        </p:nvSpPr>
        <p:spPr bwMode="auto">
          <a:xfrm>
            <a:off x="5768152" y="3466769"/>
            <a:ext cx="1319917" cy="921168"/>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5" name="Rectangle 24"/>
          <p:cNvSpPr/>
          <p:nvPr>
            <p:custDataLst>
              <p:tags r:id="rId18"/>
            </p:custDataLst>
          </p:nvPr>
        </p:nvSpPr>
        <p:spPr bwMode="auto">
          <a:xfrm>
            <a:off x="5761526" y="2054518"/>
            <a:ext cx="1319917" cy="936584"/>
          </a:xfrm>
          <a:prstGeom prst="rect">
            <a:avLst/>
          </a:prstGeom>
          <a:noFill/>
          <a:ln w="22225">
            <a:solidFill>
              <a:schemeClr val="tx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7" tIns="34289" rIns="68577" bIns="34289" numCol="1" rtlCol="0" anchor="ctr" anchorCtr="0" compatLnSpc="1">
            <a:prstTxWarp prst="textNoShape">
              <a:avLst/>
            </a:prstTxWarp>
          </a:bodyPr>
          <a:lstStyle/>
          <a:p>
            <a:pPr algn="ctr" defTabSz="685580" fontAlgn="base">
              <a:spcBef>
                <a:spcPct val="0"/>
              </a:spcBef>
              <a:spcAft>
                <a:spcPct val="0"/>
              </a:spcAft>
            </a:pPr>
            <a:endParaRPr lang="en-US" sz="1500" dirty="0">
              <a:ln>
                <a:solidFill>
                  <a:srgbClr val="FFFFFF">
                    <a:alpha val="0"/>
                  </a:srgbClr>
                </a:solidFill>
              </a:ln>
              <a:solidFill>
                <a:srgbClr val="292929">
                  <a:alpha val="99000"/>
                </a:srgbClr>
              </a:solidFill>
            </a:endParaRPr>
          </a:p>
        </p:txBody>
      </p:sp>
      <p:sp>
        <p:nvSpPr>
          <p:cNvPr id="2" name="TextBox 1"/>
          <p:cNvSpPr txBox="1"/>
          <p:nvPr/>
        </p:nvSpPr>
        <p:spPr>
          <a:xfrm>
            <a:off x="2401502" y="1817010"/>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1</a:t>
            </a:r>
          </a:p>
        </p:txBody>
      </p:sp>
      <p:sp>
        <p:nvSpPr>
          <p:cNvPr id="26" name="TextBox 25"/>
          <p:cNvSpPr txBox="1"/>
          <p:nvPr/>
        </p:nvSpPr>
        <p:spPr>
          <a:xfrm>
            <a:off x="2401502" y="3231915"/>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1</a:t>
            </a:r>
          </a:p>
        </p:txBody>
      </p:sp>
      <p:sp>
        <p:nvSpPr>
          <p:cNvPr id="27" name="TextBox 26"/>
          <p:cNvSpPr txBox="1"/>
          <p:nvPr/>
        </p:nvSpPr>
        <p:spPr>
          <a:xfrm>
            <a:off x="6229121" y="1830858"/>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2</a:t>
            </a:r>
          </a:p>
        </p:txBody>
      </p:sp>
      <p:sp>
        <p:nvSpPr>
          <p:cNvPr id="28" name="TextBox 27"/>
          <p:cNvSpPr txBox="1"/>
          <p:nvPr/>
        </p:nvSpPr>
        <p:spPr>
          <a:xfrm>
            <a:off x="6229121" y="3231915"/>
            <a:ext cx="384721" cy="184666"/>
          </a:xfrm>
          <a:prstGeom prst="rect">
            <a:avLst/>
          </a:prstGeom>
          <a:noFill/>
        </p:spPr>
        <p:txBody>
          <a:bodyPr wrap="none" lIns="0" tIns="0" rIns="0" bIns="0" rtlCol="0">
            <a:spAutoFit/>
          </a:bodyPr>
          <a:lstStyle/>
          <a:p>
            <a:pPr defTabSz="914096"/>
            <a:r>
              <a:rPr lang="en-US" sz="1200" spc="-70" dirty="0">
                <a:gradFill>
                  <a:gsLst>
                    <a:gs pos="2917">
                      <a:srgbClr val="292929"/>
                    </a:gs>
                    <a:gs pos="30000">
                      <a:srgbClr val="292929"/>
                    </a:gs>
                  </a:gsLst>
                  <a:lin ang="5400000" scaled="0"/>
                </a:gradFill>
              </a:rPr>
              <a:t>UD #2</a:t>
            </a:r>
          </a:p>
        </p:txBody>
      </p:sp>
    </p:spTree>
    <p:extLst>
      <p:ext uri="{BB962C8B-B14F-4D97-AF65-F5344CB8AC3E}">
        <p14:creationId xmlns:p14="http://schemas.microsoft.com/office/powerpoint/2010/main" val="877395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fade">
                                      <p:cBhvr>
                                        <p:cTn id="15" dur="500"/>
                                        <p:tgtEl>
                                          <p:spTgt spid="3"/>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1"/>
                                        </p:tgtEl>
                                        <p:attrNameLst>
                                          <p:attrName>style.visibility</p:attrName>
                                        </p:attrNameLst>
                                      </p:cBhvr>
                                      <p:to>
                                        <p:strVal val="visible"/>
                                      </p:to>
                                    </p:set>
                                    <p:animEffect transition="in" filter="fade">
                                      <p:cBhvr>
                                        <p:cTn id="18" dur="500"/>
                                        <p:tgtEl>
                                          <p:spTgt spid="11"/>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21"/>
                                        </p:tgtEl>
                                        <p:attrNameLst>
                                          <p:attrName>style.visibility</p:attrName>
                                        </p:attrNameLst>
                                      </p:cBhvr>
                                      <p:to>
                                        <p:strVal val="visible"/>
                                      </p:to>
                                    </p:set>
                                    <p:animEffect transition="in" filter="fade">
                                      <p:cBhvr>
                                        <p:cTn id="26" dur="500"/>
                                        <p:tgtEl>
                                          <p:spTgt spid="21"/>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animEffect transition="in" filter="fade">
                                      <p:cBhvr>
                                        <p:cTn id="29" dur="500"/>
                                        <p:tgtEl>
                                          <p:spTgt spid="24"/>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5"/>
                                        </p:tgtEl>
                                        <p:attrNameLst>
                                          <p:attrName>style.visibility</p:attrName>
                                        </p:attrNameLst>
                                      </p:cBhvr>
                                      <p:to>
                                        <p:strVal val="visible"/>
                                      </p:to>
                                    </p:set>
                                    <p:animEffect transition="in" filter="fade">
                                      <p:cBhvr>
                                        <p:cTn id="32" dur="500"/>
                                        <p:tgtEl>
                                          <p:spTgt spid="25"/>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6"/>
                                        </p:tgtEl>
                                        <p:attrNameLst>
                                          <p:attrName>style.visibility</p:attrName>
                                        </p:attrNameLst>
                                      </p:cBhvr>
                                      <p:to>
                                        <p:strVal val="visible"/>
                                      </p:to>
                                    </p:set>
                                    <p:animEffect transition="in" filter="fade">
                                      <p:cBhvr>
                                        <p:cTn id="38" dur="500"/>
                                        <p:tgtEl>
                                          <p:spTgt spid="26"/>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3" grpId="0" animBg="1"/>
      <p:bldP spid="4" grpId="0" animBg="1"/>
      <p:bldP spid="19" grpId="0" animBg="1"/>
      <p:bldP spid="21" grpId="0" animBg="1"/>
      <p:bldP spid="24" grpId="0" animBg="1"/>
      <p:bldP spid="25" grpId="0" animBg="1"/>
      <p:bldP spid="2" grpId="0"/>
      <p:bldP spid="26" grpId="0"/>
      <p:bldP spid="27" grpId="0"/>
      <p:bldP spid="28"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p:cNvSpPr>
            <a:spLocks noGrp="1"/>
          </p:cNvSpPr>
          <p:nvPr>
            <p:ph type="title"/>
          </p:nvPr>
        </p:nvSpPr>
        <p:spPr>
          <a:xfrm>
            <a:off x="389436" y="171451"/>
            <a:ext cx="8363938" cy="976421"/>
          </a:xfrm>
        </p:spPr>
        <p:txBody>
          <a:bodyPr/>
          <a:lstStyle/>
          <a:p>
            <a:r>
              <a:rPr lang="en-NZ" dirty="0" smtClean="0"/>
              <a:t>Virtual Machine Availability Sets</a:t>
            </a:r>
            <a:br>
              <a:rPr lang="en-NZ" dirty="0" smtClean="0"/>
            </a:br>
            <a:r>
              <a:rPr lang="en-US" sz="3000" dirty="0">
                <a:solidFill>
                  <a:schemeClr val="tx2">
                    <a:alpha val="99000"/>
                  </a:schemeClr>
                </a:solidFill>
              </a:rPr>
              <a:t>Update Domains are honored by host OS updates</a:t>
            </a:r>
            <a:endParaRPr lang="en-NZ" sz="3000" dirty="0">
              <a:solidFill>
                <a:schemeClr val="tx2">
                  <a:alpha val="99000"/>
                </a:schemeClr>
              </a:solidFill>
            </a:endParaRPr>
          </a:p>
        </p:txBody>
      </p:sp>
      <p:sp>
        <p:nvSpPr>
          <p:cNvPr id="3" name="Rectangle 2"/>
          <p:cNvSpPr/>
          <p:nvPr>
            <p:custDataLst>
              <p:tags r:id="rId1"/>
            </p:custDataLst>
          </p:nvPr>
        </p:nvSpPr>
        <p:spPr bwMode="auto">
          <a:xfrm>
            <a:off x="1688492"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4" name="Rectangle 3"/>
          <p:cNvSpPr/>
          <p:nvPr>
            <p:custDataLst>
              <p:tags r:id="rId2"/>
            </p:custDataLst>
          </p:nvPr>
        </p:nvSpPr>
        <p:spPr bwMode="auto">
          <a:xfrm>
            <a:off x="1807553"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1" tIns="34285" rIns="68541" bIns="34271" numCol="1" spcCol="0" rtlCol="0" anchor="t" anchorCtr="0" compatLnSpc="1">
            <a:prstTxWarp prst="textNoShape">
              <a:avLst/>
            </a:prstTxWarp>
          </a:bodyPr>
          <a:lstStyle/>
          <a:p>
            <a:pPr algn="ctr" defTabSz="685232"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1" name="Rectangle 10"/>
          <p:cNvSpPr/>
          <p:nvPr>
            <p:custDataLst>
              <p:tags r:id="rId3"/>
            </p:custDataLst>
          </p:nvPr>
        </p:nvSpPr>
        <p:spPr bwMode="auto">
          <a:xfrm>
            <a:off x="5428710" y="1179695"/>
            <a:ext cx="1998800" cy="3546309"/>
          </a:xfrm>
          <a:prstGeom prst="rect">
            <a:avLst/>
          </a:prstGeom>
          <a:solidFill>
            <a:schemeClr val="bg1"/>
          </a:solidFill>
          <a:ln w="12700">
            <a:solidFill>
              <a:schemeClr val="tx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fontAlgn="base">
              <a:spcBef>
                <a:spcPct val="0"/>
              </a:spcBef>
              <a:spcAft>
                <a:spcPct val="0"/>
              </a:spcAft>
            </a:pPr>
            <a:r>
              <a:rPr lang="en-US" dirty="0">
                <a:ln>
                  <a:solidFill>
                    <a:schemeClr val="bg1">
                      <a:alpha val="0"/>
                    </a:schemeClr>
                  </a:solidFill>
                </a:ln>
                <a:solidFill>
                  <a:srgbClr val="595959"/>
                </a:solidFill>
                <a:latin typeface="Segoe UI Light" pitchFamily="34" charset="0"/>
              </a:rPr>
              <a:t>Fault Domain</a:t>
            </a:r>
          </a:p>
        </p:txBody>
      </p:sp>
      <p:sp>
        <p:nvSpPr>
          <p:cNvPr id="12" name="Rectangle 11"/>
          <p:cNvSpPr/>
          <p:nvPr>
            <p:custDataLst>
              <p:tags r:id="rId4"/>
            </p:custDataLst>
          </p:nvPr>
        </p:nvSpPr>
        <p:spPr bwMode="auto">
          <a:xfrm>
            <a:off x="5547771" y="1534629"/>
            <a:ext cx="1783544" cy="31213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41" tIns="34285" rIns="68541" bIns="34271" numCol="1" spcCol="0" rtlCol="0" anchor="t" anchorCtr="0" compatLnSpc="1">
            <a:prstTxWarp prst="textNoShape">
              <a:avLst/>
            </a:prstTxWarp>
          </a:bodyPr>
          <a:lstStyle/>
          <a:p>
            <a:pPr algn="ctr" defTabSz="685232" fontAlgn="base">
              <a:spcBef>
                <a:spcPts val="900"/>
              </a:spcBef>
              <a:spcAft>
                <a:spcPct val="0"/>
              </a:spcAft>
            </a:pPr>
            <a:r>
              <a:rPr lang="en-US" dirty="0" smtClean="0">
                <a:ln>
                  <a:solidFill>
                    <a:schemeClr val="bg1">
                      <a:alpha val="0"/>
                    </a:schemeClr>
                  </a:solidFill>
                </a:ln>
                <a:solidFill>
                  <a:srgbClr val="595959"/>
                </a:solidFill>
              </a:rPr>
              <a:t>Rack</a:t>
            </a:r>
            <a:endParaRPr lang="en-US" sz="1100" dirty="0">
              <a:ln>
                <a:solidFill>
                  <a:schemeClr val="bg1">
                    <a:alpha val="0"/>
                  </a:schemeClr>
                </a:solidFill>
              </a:ln>
              <a:solidFill>
                <a:srgbClr val="595959"/>
              </a:solidFill>
            </a:endParaRPr>
          </a:p>
        </p:txBody>
      </p:sp>
      <p:sp>
        <p:nvSpPr>
          <p:cNvPr id="19" name="Rectangle 18"/>
          <p:cNvSpPr/>
          <p:nvPr>
            <p:custDataLst>
              <p:tags r:id="rId5"/>
            </p:custDataLst>
          </p:nvPr>
        </p:nvSpPr>
        <p:spPr bwMode="auto">
          <a:xfrm>
            <a:off x="1749698" y="1895668"/>
            <a:ext cx="5628072" cy="1199636"/>
          </a:xfrm>
          <a:prstGeom prst="rect">
            <a:avLst/>
          </a:prstGeom>
          <a:solidFill>
            <a:schemeClr val="accent2">
              <a:lumMod val="60000"/>
              <a:lumOff val="40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r>
              <a:rPr lang="en-US" sz="1500" dirty="0">
                <a:ln>
                  <a:solidFill>
                    <a:schemeClr val="bg1">
                      <a:alpha val="0"/>
                    </a:schemeClr>
                  </a:solidFill>
                </a:ln>
                <a:solidFill>
                  <a:schemeClr val="bg1"/>
                </a:solidFill>
              </a:rPr>
              <a:t>Availability Set</a:t>
            </a:r>
          </a:p>
        </p:txBody>
      </p:sp>
      <p:sp>
        <p:nvSpPr>
          <p:cNvPr id="21" name="Rectangle 20"/>
          <p:cNvSpPr/>
          <p:nvPr>
            <p:custDataLst>
              <p:tags r:id="rId6"/>
            </p:custDataLst>
          </p:nvPr>
        </p:nvSpPr>
        <p:spPr bwMode="auto">
          <a:xfrm>
            <a:off x="1749698" y="3288409"/>
            <a:ext cx="5628072" cy="1235534"/>
          </a:xfrm>
          <a:prstGeom prst="rect">
            <a:avLst/>
          </a:prstGeom>
          <a:solidFill>
            <a:schemeClr val="accent4">
              <a:lumMod val="75000"/>
            </a:schemeClr>
          </a:solidFill>
          <a:ln w="19050">
            <a:solidFill>
              <a:schemeClr val="accent5">
                <a:lumMod val="75000"/>
              </a:schemeClr>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ctr" anchorCtr="0" compatLnSpc="1">
            <a:prstTxWarp prst="textNoShape">
              <a:avLst/>
            </a:prstTxWarp>
          </a:bodyPr>
          <a:lstStyle/>
          <a:p>
            <a:pPr algn="ctr" defTabSz="685466" fontAlgn="base">
              <a:spcBef>
                <a:spcPct val="0"/>
              </a:spcBef>
              <a:spcAft>
                <a:spcPct val="0"/>
              </a:spcAft>
            </a:pPr>
            <a:r>
              <a:rPr lang="en-US" sz="1500" dirty="0">
                <a:ln>
                  <a:solidFill>
                    <a:schemeClr val="bg1">
                      <a:alpha val="0"/>
                    </a:schemeClr>
                  </a:solidFill>
                </a:ln>
                <a:solidFill>
                  <a:schemeClr val="bg1"/>
                </a:solidFill>
              </a:rPr>
              <a:t>Availability Set</a:t>
            </a:r>
          </a:p>
        </p:txBody>
      </p:sp>
      <p:sp>
        <p:nvSpPr>
          <p:cNvPr id="5" name="Rectangle 4"/>
          <p:cNvSpPr/>
          <p:nvPr>
            <p:custDataLst>
              <p:tags r:id="rId7"/>
            </p:custDataLst>
          </p:nvPr>
        </p:nvSpPr>
        <p:spPr bwMode="auto">
          <a:xfrm>
            <a:off x="1933316"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8" name="Rectangle 7"/>
          <p:cNvSpPr/>
          <p:nvPr>
            <p:custDataLst>
              <p:tags r:id="rId8"/>
            </p:custDataLst>
          </p:nvPr>
        </p:nvSpPr>
        <p:spPr bwMode="auto">
          <a:xfrm>
            <a:off x="1933316"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3" name="Rectangle 12"/>
          <p:cNvSpPr/>
          <p:nvPr>
            <p:custDataLst>
              <p:tags r:id="rId9"/>
            </p:custDataLst>
          </p:nvPr>
        </p:nvSpPr>
        <p:spPr bwMode="auto">
          <a:xfrm>
            <a:off x="5673532" y="1895665"/>
            <a:ext cx="1509153" cy="1235534"/>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16" name="Rectangle 15"/>
          <p:cNvSpPr/>
          <p:nvPr>
            <p:custDataLst>
              <p:tags r:id="rId10"/>
            </p:custDataLst>
          </p:nvPr>
        </p:nvSpPr>
        <p:spPr bwMode="auto">
          <a:xfrm>
            <a:off x="5673532" y="3288409"/>
            <a:ext cx="1509153" cy="123553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5" tIns="34283" rIns="68565" bIns="34283" numCol="1" rtlCol="0" anchor="t" anchorCtr="0" compatLnSpc="1">
            <a:prstTxWarp prst="textNoShape">
              <a:avLst/>
            </a:prstTxWarp>
          </a:bodyPr>
          <a:lstStyle/>
          <a:p>
            <a:pPr algn="ctr" defTabSz="685466" fontAlgn="base">
              <a:spcBef>
                <a:spcPct val="0"/>
              </a:spcBef>
              <a:spcAft>
                <a:spcPct val="0"/>
              </a:spcAft>
            </a:pPr>
            <a:r>
              <a:rPr lang="en-US" sz="1400" dirty="0">
                <a:ln>
                  <a:solidFill>
                    <a:schemeClr val="bg1">
                      <a:alpha val="0"/>
                    </a:schemeClr>
                  </a:solidFill>
                </a:ln>
                <a:solidFill>
                  <a:schemeClr val="bg1"/>
                </a:solidFill>
              </a:rPr>
              <a:t>Virtual Machine</a:t>
            </a:r>
          </a:p>
        </p:txBody>
      </p:sp>
      <p:sp>
        <p:nvSpPr>
          <p:cNvPr id="6" name="Rectangle 5"/>
          <p:cNvSpPr/>
          <p:nvPr>
            <p:custDataLst>
              <p:tags r:id="rId11"/>
            </p:custDataLst>
          </p:nvPr>
        </p:nvSpPr>
        <p:spPr bwMode="auto">
          <a:xfrm>
            <a:off x="2139109" y="2233795"/>
            <a:ext cx="1097566" cy="75447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IIS1</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9" name="Rectangle 8"/>
          <p:cNvSpPr/>
          <p:nvPr>
            <p:custDataLst>
              <p:tags r:id="rId12"/>
            </p:custDataLst>
          </p:nvPr>
        </p:nvSpPr>
        <p:spPr bwMode="auto">
          <a:xfrm>
            <a:off x="2139109" y="3626538"/>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SQL1</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14" name="Rectangle 13"/>
          <p:cNvSpPr/>
          <p:nvPr>
            <p:custDataLst>
              <p:tags r:id="rId13"/>
            </p:custDataLst>
          </p:nvPr>
        </p:nvSpPr>
        <p:spPr bwMode="auto">
          <a:xfrm>
            <a:off x="5879326" y="2225755"/>
            <a:ext cx="1097566" cy="76251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IIS2</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17" name="Rectangle 16"/>
          <p:cNvSpPr/>
          <p:nvPr>
            <p:custDataLst>
              <p:tags r:id="rId14"/>
            </p:custDataLst>
          </p:nvPr>
        </p:nvSpPr>
        <p:spPr bwMode="auto">
          <a:xfrm>
            <a:off x="5879326" y="3626538"/>
            <a:ext cx="1097566" cy="794069"/>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274357" tIns="68589" rIns="68565" bIns="34283" numCol="1" rtlCol="0" anchor="ctr" anchorCtr="0" compatLnSpc="1">
            <a:prstTxWarp prst="textNoShape">
              <a:avLst/>
            </a:prstTxWarp>
          </a:bodyPr>
          <a:lstStyle/>
          <a:p>
            <a:pPr algn="ctr" defTabSz="685466" fontAlgn="base">
              <a:spcBef>
                <a:spcPct val="0"/>
              </a:spcBef>
              <a:spcAft>
                <a:spcPct val="0"/>
              </a:spcAft>
            </a:pPr>
            <a:r>
              <a:rPr lang="en-NZ" sz="1500" dirty="0">
                <a:ln>
                  <a:solidFill>
                    <a:schemeClr val="bg1">
                      <a:alpha val="0"/>
                    </a:schemeClr>
                  </a:solidFill>
                </a:ln>
                <a:solidFill>
                  <a:srgbClr val="595959"/>
                </a:solidFill>
              </a:rPr>
              <a:t>SQL2</a:t>
            </a:r>
          </a:p>
          <a:p>
            <a:pPr algn="ctr" defTabSz="685466" fontAlgn="base">
              <a:spcBef>
                <a:spcPct val="0"/>
              </a:spcBef>
              <a:spcAft>
                <a:spcPct val="0"/>
              </a:spcAft>
            </a:pPr>
            <a:endParaRPr lang="en-NZ" sz="1500" dirty="0">
              <a:ln>
                <a:solidFill>
                  <a:schemeClr val="bg1">
                    <a:alpha val="0"/>
                  </a:schemeClr>
                </a:solidFill>
              </a:ln>
              <a:solidFill>
                <a:srgbClr val="595959"/>
              </a:solidFill>
            </a:endParaRPr>
          </a:p>
        </p:txBody>
      </p:sp>
      <p:sp>
        <p:nvSpPr>
          <p:cNvPr id="20" name="Rectangle 19"/>
          <p:cNvSpPr/>
          <p:nvPr/>
        </p:nvSpPr>
        <p:spPr>
          <a:xfrm>
            <a:off x="6091655" y="2714368"/>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2</a:t>
            </a:r>
          </a:p>
        </p:txBody>
      </p:sp>
      <p:sp>
        <p:nvSpPr>
          <p:cNvPr id="22" name="Rectangle 21"/>
          <p:cNvSpPr/>
          <p:nvPr/>
        </p:nvSpPr>
        <p:spPr>
          <a:xfrm>
            <a:off x="6080220" y="4072571"/>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2</a:t>
            </a:r>
          </a:p>
        </p:txBody>
      </p:sp>
      <p:sp>
        <p:nvSpPr>
          <p:cNvPr id="2" name="TextBox 1"/>
          <p:cNvSpPr txBox="1"/>
          <p:nvPr/>
        </p:nvSpPr>
        <p:spPr>
          <a:xfrm>
            <a:off x="2400959" y="2771491"/>
            <a:ext cx="511091" cy="197362"/>
          </a:xfrm>
          <a:prstGeom prst="rect">
            <a:avLst/>
          </a:prstGeom>
          <a:noFill/>
        </p:spPr>
        <p:txBody>
          <a:bodyPr wrap="none" lIns="0" tIns="0" rIns="0" bIns="0" rtlCol="0">
            <a:spAutoFit/>
          </a:bodyPr>
          <a:lstStyle/>
          <a:p>
            <a:pPr>
              <a:lnSpc>
                <a:spcPct val="90000"/>
              </a:lnSpc>
              <a:spcBef>
                <a:spcPct val="20000"/>
              </a:spcBef>
              <a:buSzPct val="80000"/>
            </a:pPr>
            <a:r>
              <a:rPr lang="en-US" sz="1400" dirty="0">
                <a:ln>
                  <a:solidFill>
                    <a:schemeClr val="bg1">
                      <a:alpha val="0"/>
                    </a:schemeClr>
                  </a:solidFill>
                </a:ln>
                <a:solidFill>
                  <a:srgbClr val="595959"/>
                </a:solidFill>
              </a:rPr>
              <a:t>UD #1</a:t>
            </a:r>
            <a:endParaRPr lang="en-US" sz="1400" dirty="0">
              <a:gradFill>
                <a:gsLst>
                  <a:gs pos="0">
                    <a:srgbClr val="292929">
                      <a:lumMod val="90000"/>
                      <a:lumOff val="10000"/>
                    </a:srgbClr>
                  </a:gs>
                  <a:gs pos="86000">
                    <a:srgbClr val="292929">
                      <a:lumMod val="90000"/>
                      <a:lumOff val="10000"/>
                    </a:srgbClr>
                  </a:gs>
                </a:gsLst>
                <a:lin ang="5400000" scaled="0"/>
              </a:gradFill>
            </a:endParaRPr>
          </a:p>
        </p:txBody>
      </p:sp>
      <p:sp>
        <p:nvSpPr>
          <p:cNvPr id="18" name="Rectangle 17"/>
          <p:cNvSpPr/>
          <p:nvPr/>
        </p:nvSpPr>
        <p:spPr>
          <a:xfrm>
            <a:off x="2351437" y="4056896"/>
            <a:ext cx="695773" cy="311607"/>
          </a:xfrm>
          <a:prstGeom prst="rect">
            <a:avLst/>
          </a:prstGeom>
        </p:spPr>
        <p:txBody>
          <a:bodyPr wrap="none" lIns="91420" tIns="45710" rIns="91420" bIns="45710">
            <a:spAutoFit/>
          </a:bodyPr>
          <a:lstStyle/>
          <a:p>
            <a:pPr algn="ctr" defTabSz="685523" fontAlgn="base">
              <a:spcBef>
                <a:spcPct val="0"/>
              </a:spcBef>
              <a:spcAft>
                <a:spcPct val="0"/>
              </a:spcAft>
            </a:pPr>
            <a:r>
              <a:rPr lang="en-US" sz="1400" dirty="0">
                <a:ln>
                  <a:solidFill>
                    <a:schemeClr val="bg1">
                      <a:alpha val="0"/>
                    </a:schemeClr>
                  </a:solidFill>
                </a:ln>
                <a:solidFill>
                  <a:srgbClr val="595959"/>
                </a:solidFill>
              </a:rPr>
              <a:t>UD #1</a:t>
            </a:r>
          </a:p>
        </p:txBody>
      </p:sp>
      <p:sp>
        <p:nvSpPr>
          <p:cNvPr id="23" name="Freeform 62"/>
          <p:cNvSpPr>
            <a:spLocks noEditPoints="1"/>
          </p:cNvSpPr>
          <p:nvPr/>
        </p:nvSpPr>
        <p:spPr bwMode="black">
          <a:xfrm>
            <a:off x="2212894" y="2355214"/>
            <a:ext cx="296572" cy="2964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24" name="Freeform 62"/>
          <p:cNvSpPr>
            <a:spLocks noEditPoints="1"/>
          </p:cNvSpPr>
          <p:nvPr/>
        </p:nvSpPr>
        <p:spPr bwMode="black">
          <a:xfrm>
            <a:off x="5943369" y="2365223"/>
            <a:ext cx="296572" cy="296417"/>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chemeClr val="tx1"/>
          </a:solidFill>
          <a:ln>
            <a:noFill/>
          </a:ln>
        </p:spPr>
        <p:txBody>
          <a:bodyPr vert="horz" wrap="square" lIns="61737" tIns="30869" rIns="61737" bIns="30869" numCol="1" anchor="t" anchorCtr="0" compatLnSpc="1">
            <a:prstTxWarp prst="textNoShape">
              <a:avLst/>
            </a:prstTxWarp>
          </a:bodyPr>
          <a:lstStyle/>
          <a:p>
            <a:endParaRPr lang="en-US" sz="1200"/>
          </a:p>
        </p:txBody>
      </p:sp>
      <p:sp>
        <p:nvSpPr>
          <p:cNvPr id="25" name="Freeform 34"/>
          <p:cNvSpPr>
            <a:spLocks noEditPoints="1"/>
          </p:cNvSpPr>
          <p:nvPr/>
        </p:nvSpPr>
        <p:spPr bwMode="auto">
          <a:xfrm>
            <a:off x="2221364" y="3768268"/>
            <a:ext cx="279632" cy="274331"/>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5" tIns="30867" rIns="61735" bIns="30867" numCol="1" rtlCol="0" anchor="ctr" anchorCtr="0" compatLnSpc="1">
            <a:prstTxWarp prst="textNoShape">
              <a:avLst/>
            </a:prstTxWarp>
          </a:bodyPr>
          <a:lstStyle/>
          <a:p>
            <a:pPr defTabSz="555468"/>
            <a:endParaRPr lang="en-US" spc="-92">
              <a:solidFill>
                <a:schemeClr val="tx1">
                  <a:lumMod val="50000"/>
                </a:schemeClr>
              </a:solidFill>
              <a:latin typeface="Segoe Light" pitchFamily="34" charset="0"/>
            </a:endParaRPr>
          </a:p>
        </p:txBody>
      </p:sp>
      <p:sp>
        <p:nvSpPr>
          <p:cNvPr id="26" name="Freeform 34"/>
          <p:cNvSpPr>
            <a:spLocks noEditPoints="1"/>
          </p:cNvSpPr>
          <p:nvPr/>
        </p:nvSpPr>
        <p:spPr bwMode="auto">
          <a:xfrm>
            <a:off x="5960310" y="3768268"/>
            <a:ext cx="279632" cy="274331"/>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chemeClr val="tx1"/>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61735" tIns="30867" rIns="61735" bIns="30867" numCol="1" rtlCol="0" anchor="ctr" anchorCtr="0" compatLnSpc="1">
            <a:prstTxWarp prst="textNoShape">
              <a:avLst/>
            </a:prstTxWarp>
          </a:bodyPr>
          <a:lstStyle/>
          <a:p>
            <a:pPr defTabSz="555468"/>
            <a:endParaRPr lang="en-US" spc="-92">
              <a:solidFill>
                <a:schemeClr val="tx1">
                  <a:lumMod val="50000"/>
                </a:schemeClr>
              </a:solidFill>
              <a:latin typeface="Segoe Light" pitchFamily="34" charset="0"/>
            </a:endParaRPr>
          </a:p>
        </p:txBody>
      </p:sp>
    </p:spTree>
    <p:extLst>
      <p:ext uri="{BB962C8B-B14F-4D97-AF65-F5344CB8AC3E}">
        <p14:creationId xmlns:p14="http://schemas.microsoft.com/office/powerpoint/2010/main" val="297831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1"/>
                                        </p:tgtEl>
                                        <p:attrNameLst>
                                          <p:attrName>style.visibility</p:attrName>
                                        </p:attrNameLst>
                                      </p:cBhvr>
                                      <p:to>
                                        <p:strVal val="visible"/>
                                      </p:to>
                                    </p:set>
                                    <p:animEffect transition="in" filter="fade">
                                      <p:cBhvr>
                                        <p:cTn id="10" dur="500"/>
                                        <p:tgtEl>
                                          <p:spTgt spid="21"/>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gtEl>
                                        <p:attrNameLst>
                                          <p:attrName>style.visibility</p:attrName>
                                        </p:attrNameLst>
                                      </p:cBhvr>
                                      <p:to>
                                        <p:strVal val="visible"/>
                                      </p:to>
                                    </p:set>
                                    <p:animEffect transition="in" filter="fade">
                                      <p:cBhvr>
                                        <p:cTn id="23" dur="500"/>
                                        <p:tgtEl>
                                          <p:spTgt spid="3"/>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11" grpId="0" animBg="1"/>
      <p:bldP spid="12" grpId="0" animBg="1"/>
      <p:bldP spid="19" grpId="0" animBg="1"/>
      <p:bldP spid="21" grpId="0" animBg="1"/>
      <p:bldP spid="20" grpId="0"/>
      <p:bldP spid="22" grpId="0"/>
      <p:bldP spid="2" grpId="0"/>
      <p:bldP spid="1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custDataLst>
              <p:tags r:id="rId2"/>
            </p:custDataLst>
          </p:nvPr>
        </p:nvSpPr>
        <p:spPr bwMode="auto">
          <a:xfrm>
            <a:off x="3757125" y="1592615"/>
            <a:ext cx="3896424" cy="229072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34" name="Rectangle 33"/>
          <p:cNvSpPr/>
          <p:nvPr>
            <p:custDataLst>
              <p:tags r:id="rId3"/>
            </p:custDataLst>
          </p:nvPr>
        </p:nvSpPr>
        <p:spPr bwMode="auto">
          <a:xfrm>
            <a:off x="1394067" y="1592614"/>
            <a:ext cx="2286000" cy="2286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7" name="Rectangle 26"/>
          <p:cNvSpPr/>
          <p:nvPr/>
        </p:nvSpPr>
        <p:spPr bwMode="auto">
          <a:xfrm>
            <a:off x="170399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sp>
        <p:nvSpPr>
          <p:cNvPr id="19" name="Rectangle 18"/>
          <p:cNvSpPr/>
          <p:nvPr/>
        </p:nvSpPr>
        <p:spPr bwMode="auto">
          <a:xfrm>
            <a:off x="398980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sp>
        <p:nvSpPr>
          <p:cNvPr id="31" name="Rectangle 30"/>
          <p:cNvSpPr/>
          <p:nvPr/>
        </p:nvSpPr>
        <p:spPr bwMode="auto">
          <a:xfrm>
            <a:off x="5678994" y="1917105"/>
            <a:ext cx="1645920" cy="164592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396" tIns="45699" rIns="91396" bIns="91432" numCol="1" spcCol="0" rtlCol="0" anchor="b" anchorCtr="0" compatLnSpc="1">
            <a:prstTxWarp prst="textNoShape">
              <a:avLst/>
            </a:prstTxWarp>
          </a:bodyPr>
          <a:lstStyle/>
          <a:p>
            <a:pPr algn="ctr" defTabSz="685318" fontAlgn="base">
              <a:spcBef>
                <a:spcPct val="0"/>
              </a:spcBef>
              <a:spcAft>
                <a:spcPct val="0"/>
              </a:spcAft>
            </a:pPr>
            <a:r>
              <a:rPr lang="en-US" sz="1200" b="1" dirty="0">
                <a:ln>
                  <a:solidFill>
                    <a:srgbClr val="FFFFFF">
                      <a:alpha val="0"/>
                    </a:srgbClr>
                  </a:solidFill>
                </a:ln>
                <a:solidFill>
                  <a:schemeClr val="tx2"/>
                </a:solidFill>
              </a:rPr>
              <a:t>Virtual Machine</a:t>
            </a:r>
          </a:p>
        </p:txBody>
      </p:sp>
      <p:graphicFrame>
        <p:nvGraphicFramePr>
          <p:cNvPr id="10" name="Object 9" hidden="1"/>
          <p:cNvGraphicFramePr>
            <a:graphicFrameLocks noChangeAspect="1"/>
          </p:cNvGraphicFramePr>
          <p:nvPr>
            <p:custDataLst>
              <p:tags r:id="rId4"/>
            </p:custDataLst>
            <p:extLst>
              <p:ext uri="{D42A27DB-BD31-4B8C-83A1-F6EECF244321}">
                <p14:modId xmlns:p14="http://schemas.microsoft.com/office/powerpoint/2010/main" val="1153253537"/>
              </p:ext>
            </p:extLst>
          </p:nvPr>
        </p:nvGraphicFramePr>
        <p:xfrm>
          <a:off x="1" y="4"/>
          <a:ext cx="119094" cy="119063"/>
        </p:xfrm>
        <a:graphic>
          <a:graphicData uri="http://schemas.openxmlformats.org/presentationml/2006/ole">
            <mc:AlternateContent xmlns:mc="http://schemas.openxmlformats.org/markup-compatibility/2006">
              <mc:Choice xmlns:v="urn:schemas-microsoft-com:vml" Requires="v">
                <p:oleObj spid="_x0000_s9252"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 y="4"/>
                        <a:ext cx="119094" cy="119063"/>
                      </a:xfrm>
                      <a:prstGeom prst="rect">
                        <a:avLst/>
                      </a:prstGeom>
                    </p:spPr>
                  </p:pic>
                </p:oleObj>
              </mc:Fallback>
            </mc:AlternateContent>
          </a:graphicData>
        </a:graphic>
      </p:graphicFrame>
      <p:sp>
        <p:nvSpPr>
          <p:cNvPr id="4" name="Title 3"/>
          <p:cNvSpPr>
            <a:spLocks noGrp="1"/>
          </p:cNvSpPr>
          <p:nvPr>
            <p:ph type="title"/>
            <p:custDataLst>
              <p:tags r:id="rId5"/>
            </p:custDataLst>
          </p:nvPr>
        </p:nvSpPr>
        <p:spPr/>
        <p:txBody>
          <a:bodyPr/>
          <a:lstStyle/>
          <a:p>
            <a:r>
              <a:rPr lang="en-US" dirty="0" smtClean="0"/>
              <a:t>How Does this Relate to SLA?</a:t>
            </a:r>
            <a:endParaRPr lang="en-US" dirty="0"/>
          </a:p>
        </p:txBody>
      </p:sp>
      <p:sp>
        <p:nvSpPr>
          <p:cNvPr id="28" name="Freeform 11"/>
          <p:cNvSpPr>
            <a:spLocks noEditPoints="1"/>
          </p:cNvSpPr>
          <p:nvPr/>
        </p:nvSpPr>
        <p:spPr bwMode="auto">
          <a:xfrm>
            <a:off x="2258983" y="-864155"/>
            <a:ext cx="888171" cy="742230"/>
          </a:xfrm>
          <a:custGeom>
            <a:avLst/>
            <a:gdLst>
              <a:gd name="T0" fmla="*/ 95 w 95"/>
              <a:gd name="T1" fmla="*/ 21 h 128"/>
              <a:gd name="T2" fmla="*/ 95 w 95"/>
              <a:gd name="T3" fmla="*/ 47 h 128"/>
              <a:gd name="T4" fmla="*/ 47 w 95"/>
              <a:gd name="T5" fmla="*/ 64 h 128"/>
              <a:gd name="T6" fmla="*/ 0 w 95"/>
              <a:gd name="T7" fmla="*/ 47 h 128"/>
              <a:gd name="T8" fmla="*/ 0 w 95"/>
              <a:gd name="T9" fmla="*/ 21 h 128"/>
              <a:gd name="T10" fmla="*/ 47 w 95"/>
              <a:gd name="T11" fmla="*/ 38 h 128"/>
              <a:gd name="T12" fmla="*/ 95 w 95"/>
              <a:gd name="T13" fmla="*/ 21 h 128"/>
              <a:gd name="T14" fmla="*/ 95 w 95"/>
              <a:gd name="T15" fmla="*/ 53 h 128"/>
              <a:gd name="T16" fmla="*/ 95 w 95"/>
              <a:gd name="T17" fmla="*/ 79 h 128"/>
              <a:gd name="T18" fmla="*/ 47 w 95"/>
              <a:gd name="T19" fmla="*/ 96 h 128"/>
              <a:gd name="T20" fmla="*/ 0 w 95"/>
              <a:gd name="T21" fmla="*/ 79 h 128"/>
              <a:gd name="T22" fmla="*/ 0 w 95"/>
              <a:gd name="T23" fmla="*/ 53 h 128"/>
              <a:gd name="T24" fmla="*/ 47 w 95"/>
              <a:gd name="T25" fmla="*/ 70 h 128"/>
              <a:gd name="T26" fmla="*/ 95 w 95"/>
              <a:gd name="T27" fmla="*/ 53 h 128"/>
              <a:gd name="T28" fmla="*/ 95 w 95"/>
              <a:gd name="T29" fmla="*/ 85 h 128"/>
              <a:gd name="T30" fmla="*/ 95 w 95"/>
              <a:gd name="T31" fmla="*/ 111 h 128"/>
              <a:gd name="T32" fmla="*/ 47 w 95"/>
              <a:gd name="T33" fmla="*/ 128 h 128"/>
              <a:gd name="T34" fmla="*/ 0 w 95"/>
              <a:gd name="T35" fmla="*/ 111 h 128"/>
              <a:gd name="T36" fmla="*/ 0 w 95"/>
              <a:gd name="T37" fmla="*/ 85 h 128"/>
              <a:gd name="T38" fmla="*/ 47 w 95"/>
              <a:gd name="T39" fmla="*/ 102 h 128"/>
              <a:gd name="T40" fmla="*/ 95 w 95"/>
              <a:gd name="T41" fmla="*/ 85 h 128"/>
              <a:gd name="T42" fmla="*/ 0 w 95"/>
              <a:gd name="T43" fmla="*/ 17 h 128"/>
              <a:gd name="T44" fmla="*/ 47 w 95"/>
              <a:gd name="T45" fmla="*/ 34 h 128"/>
              <a:gd name="T46" fmla="*/ 95 w 95"/>
              <a:gd name="T47" fmla="*/ 17 h 128"/>
              <a:gd name="T48" fmla="*/ 48 w 95"/>
              <a:gd name="T49" fmla="*/ 0 h 128"/>
              <a:gd name="T50" fmla="*/ 0 w 95"/>
              <a:gd name="T51"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5" h="128">
                <a:moveTo>
                  <a:pt x="95" y="21"/>
                </a:moveTo>
                <a:cubicBezTo>
                  <a:pt x="95" y="47"/>
                  <a:pt x="95" y="47"/>
                  <a:pt x="95" y="47"/>
                </a:cubicBezTo>
                <a:cubicBezTo>
                  <a:pt x="95" y="56"/>
                  <a:pt x="74" y="64"/>
                  <a:pt x="47" y="64"/>
                </a:cubicBezTo>
                <a:cubicBezTo>
                  <a:pt x="21" y="64"/>
                  <a:pt x="0" y="56"/>
                  <a:pt x="0" y="47"/>
                </a:cubicBezTo>
                <a:cubicBezTo>
                  <a:pt x="0" y="21"/>
                  <a:pt x="0" y="21"/>
                  <a:pt x="0" y="21"/>
                </a:cubicBezTo>
                <a:cubicBezTo>
                  <a:pt x="0" y="31"/>
                  <a:pt x="21" y="38"/>
                  <a:pt x="47" y="38"/>
                </a:cubicBezTo>
                <a:cubicBezTo>
                  <a:pt x="74" y="38"/>
                  <a:pt x="95" y="31"/>
                  <a:pt x="95" y="21"/>
                </a:cubicBezTo>
                <a:close/>
                <a:moveTo>
                  <a:pt x="95" y="53"/>
                </a:moveTo>
                <a:cubicBezTo>
                  <a:pt x="95" y="79"/>
                  <a:pt x="95" y="79"/>
                  <a:pt x="95" y="79"/>
                </a:cubicBezTo>
                <a:cubicBezTo>
                  <a:pt x="95" y="88"/>
                  <a:pt x="74" y="96"/>
                  <a:pt x="47" y="96"/>
                </a:cubicBezTo>
                <a:cubicBezTo>
                  <a:pt x="21" y="96"/>
                  <a:pt x="0" y="88"/>
                  <a:pt x="0" y="79"/>
                </a:cubicBezTo>
                <a:cubicBezTo>
                  <a:pt x="0" y="53"/>
                  <a:pt x="0" y="53"/>
                  <a:pt x="0" y="53"/>
                </a:cubicBezTo>
                <a:cubicBezTo>
                  <a:pt x="0" y="63"/>
                  <a:pt x="21" y="70"/>
                  <a:pt x="47" y="70"/>
                </a:cubicBezTo>
                <a:cubicBezTo>
                  <a:pt x="74" y="70"/>
                  <a:pt x="95" y="63"/>
                  <a:pt x="95" y="53"/>
                </a:cubicBezTo>
                <a:close/>
                <a:moveTo>
                  <a:pt x="95" y="85"/>
                </a:moveTo>
                <a:cubicBezTo>
                  <a:pt x="95" y="111"/>
                  <a:pt x="95" y="111"/>
                  <a:pt x="95" y="111"/>
                </a:cubicBezTo>
                <a:cubicBezTo>
                  <a:pt x="95" y="120"/>
                  <a:pt x="74" y="128"/>
                  <a:pt x="47" y="128"/>
                </a:cubicBezTo>
                <a:cubicBezTo>
                  <a:pt x="21" y="128"/>
                  <a:pt x="0" y="120"/>
                  <a:pt x="0" y="111"/>
                </a:cubicBezTo>
                <a:cubicBezTo>
                  <a:pt x="0" y="85"/>
                  <a:pt x="0" y="85"/>
                  <a:pt x="0" y="85"/>
                </a:cubicBezTo>
                <a:cubicBezTo>
                  <a:pt x="0" y="95"/>
                  <a:pt x="21" y="102"/>
                  <a:pt x="47" y="102"/>
                </a:cubicBezTo>
                <a:cubicBezTo>
                  <a:pt x="74" y="102"/>
                  <a:pt x="95" y="95"/>
                  <a:pt x="95" y="85"/>
                </a:cubicBezTo>
                <a:close/>
                <a:moveTo>
                  <a:pt x="0" y="17"/>
                </a:moveTo>
                <a:cubicBezTo>
                  <a:pt x="0" y="27"/>
                  <a:pt x="21" y="34"/>
                  <a:pt x="47" y="34"/>
                </a:cubicBezTo>
                <a:cubicBezTo>
                  <a:pt x="74" y="34"/>
                  <a:pt x="95" y="27"/>
                  <a:pt x="95" y="17"/>
                </a:cubicBezTo>
                <a:cubicBezTo>
                  <a:pt x="95" y="8"/>
                  <a:pt x="74" y="0"/>
                  <a:pt x="48" y="0"/>
                </a:cubicBezTo>
                <a:cubicBezTo>
                  <a:pt x="22" y="0"/>
                  <a:pt x="0" y="8"/>
                  <a:pt x="0" y="17"/>
                </a:cubicBezTo>
                <a:close/>
              </a:path>
            </a:pathLst>
          </a:custGeom>
          <a:solidFill>
            <a:schemeClr val="accent1">
              <a:lumMod val="75000"/>
            </a:schemeClr>
          </a:solidFill>
          <a:ln w="19050">
            <a:noFill/>
          </a:ln>
        </p:spPr>
        <p:txBody>
          <a:bodyPr vert="horz" wrap="square" lIns="91436" tIns="45718" rIns="91436" bIns="45718" numCol="1" anchor="t" anchorCtr="0" compatLnSpc="1">
            <a:prstTxWarp prst="textNoShape">
              <a:avLst/>
            </a:prstTxWarp>
          </a:bodyPr>
          <a:lstStyle/>
          <a:p>
            <a:endParaRPr lang="en-US"/>
          </a:p>
        </p:txBody>
      </p:sp>
      <p:grpSp>
        <p:nvGrpSpPr>
          <p:cNvPr id="7" name="Group 6"/>
          <p:cNvGrpSpPr/>
          <p:nvPr/>
        </p:nvGrpSpPr>
        <p:grpSpPr>
          <a:xfrm>
            <a:off x="1834069" y="2130999"/>
            <a:ext cx="1302446" cy="1044397"/>
            <a:chOff x="1" y="2703286"/>
            <a:chExt cx="1520439" cy="1219200"/>
          </a:xfrm>
        </p:grpSpPr>
        <p:pic>
          <p:nvPicPr>
            <p:cNvPr id="24" name="Picture 2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29"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 </a:t>
              </a:r>
            </a:p>
          </p:txBody>
        </p:sp>
      </p:grpSp>
      <p:sp>
        <p:nvSpPr>
          <p:cNvPr id="35" name="Rectangle 34"/>
          <p:cNvSpPr/>
          <p:nvPr>
            <p:custDataLst>
              <p:tags r:id="rId6"/>
            </p:custDataLst>
          </p:nvPr>
        </p:nvSpPr>
        <p:spPr bwMode="auto">
          <a:xfrm>
            <a:off x="1394067" y="3883336"/>
            <a:ext cx="2286000" cy="46346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dirty="0">
                <a:gradFill>
                  <a:gsLst>
                    <a:gs pos="0">
                      <a:srgbClr val="FFFFFF"/>
                    </a:gs>
                    <a:gs pos="100000">
                      <a:srgbClr val="FFFFFF"/>
                    </a:gs>
                  </a:gsLst>
                  <a:lin ang="5400000" scaled="0"/>
                </a:gradFill>
              </a:rPr>
              <a:t>SLA 99.9</a:t>
            </a:r>
          </a:p>
        </p:txBody>
      </p:sp>
      <p:sp>
        <p:nvSpPr>
          <p:cNvPr id="38" name="Rectangle 37"/>
          <p:cNvSpPr/>
          <p:nvPr>
            <p:custDataLst>
              <p:tags r:id="rId7"/>
            </p:custDataLst>
          </p:nvPr>
        </p:nvSpPr>
        <p:spPr bwMode="auto">
          <a:xfrm>
            <a:off x="3757126" y="3878615"/>
            <a:ext cx="3896422" cy="463465"/>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dirty="0">
                <a:gradFill>
                  <a:gsLst>
                    <a:gs pos="0">
                      <a:srgbClr val="FFFFFF"/>
                    </a:gs>
                    <a:gs pos="100000">
                      <a:srgbClr val="FFFFFF"/>
                    </a:gs>
                  </a:gsLst>
                  <a:lin ang="5400000" scaled="0"/>
                </a:gradFill>
              </a:rPr>
              <a:t>SLA 99.95</a:t>
            </a:r>
          </a:p>
        </p:txBody>
      </p:sp>
      <p:grpSp>
        <p:nvGrpSpPr>
          <p:cNvPr id="39" name="Group 38"/>
          <p:cNvGrpSpPr/>
          <p:nvPr/>
        </p:nvGrpSpPr>
        <p:grpSpPr>
          <a:xfrm>
            <a:off x="4097830" y="2172734"/>
            <a:ext cx="1302446" cy="1044397"/>
            <a:chOff x="1" y="2703286"/>
            <a:chExt cx="1520439" cy="1219200"/>
          </a:xfrm>
        </p:grpSpPr>
        <p:pic>
          <p:nvPicPr>
            <p:cNvPr id="40" name="Picture 3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1"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a:t>
              </a:r>
            </a:p>
            <a:p>
              <a:pPr algn="ctr">
                <a:lnSpc>
                  <a:spcPct val="90000"/>
                </a:lnSpc>
              </a:pPr>
              <a:r>
                <a:rPr lang="en-US" sz="1400" dirty="0">
                  <a:solidFill>
                    <a:schemeClr val="tx1">
                      <a:alpha val="99000"/>
                    </a:schemeClr>
                  </a:solidFill>
                </a:rPr>
                <a:t>Primary </a:t>
              </a:r>
            </a:p>
          </p:txBody>
        </p:sp>
      </p:grpSp>
      <p:grpSp>
        <p:nvGrpSpPr>
          <p:cNvPr id="42" name="Group 41"/>
          <p:cNvGrpSpPr/>
          <p:nvPr/>
        </p:nvGrpSpPr>
        <p:grpSpPr>
          <a:xfrm>
            <a:off x="5835685" y="2185680"/>
            <a:ext cx="1302446" cy="1044397"/>
            <a:chOff x="1" y="2703286"/>
            <a:chExt cx="1520439" cy="1219200"/>
          </a:xfrm>
        </p:grpSpPr>
        <p:pic>
          <p:nvPicPr>
            <p:cNvPr id="43" name="Picture 4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1" y="2703286"/>
              <a:ext cx="1520439" cy="1219200"/>
            </a:xfrm>
            <a:prstGeom prst="rect">
              <a:avLst/>
            </a:prstGeom>
          </p:spPr>
        </p:pic>
        <p:sp>
          <p:nvSpPr>
            <p:cNvPr id="44" name="Freeform 6"/>
            <p:cNvSpPr>
              <a:spLocks noEditPoints="1"/>
            </p:cNvSpPr>
            <p:nvPr/>
          </p:nvSpPr>
          <p:spPr bwMode="auto">
            <a:xfrm>
              <a:off x="119095" y="2960141"/>
              <a:ext cx="1288134" cy="833158"/>
            </a:xfrm>
            <a:custGeom>
              <a:avLst/>
              <a:gdLst>
                <a:gd name="T0" fmla="*/ 482 w 966"/>
                <a:gd name="T1" fmla="*/ 2028 h 2028"/>
                <a:gd name="T2" fmla="*/ 966 w 966"/>
                <a:gd name="T3" fmla="*/ 1866 h 2028"/>
                <a:gd name="T4" fmla="*/ 966 w 966"/>
                <a:gd name="T5" fmla="*/ 162 h 2028"/>
                <a:gd name="T6" fmla="*/ 482 w 966"/>
                <a:gd name="T7" fmla="*/ 0 h 2028"/>
                <a:gd name="T8" fmla="*/ 0 w 966"/>
                <a:gd name="T9" fmla="*/ 162 h 2028"/>
                <a:gd name="T10" fmla="*/ 0 w 966"/>
                <a:gd name="T11" fmla="*/ 1866 h 2028"/>
                <a:gd name="T12" fmla="*/ 482 w 966"/>
                <a:gd name="T13" fmla="*/ 2028 h 2028"/>
                <a:gd name="T14" fmla="*/ 482 w 966"/>
                <a:gd name="T15" fmla="*/ 48 h 2028"/>
                <a:gd name="T16" fmla="*/ 890 w 966"/>
                <a:gd name="T17" fmla="*/ 159 h 2028"/>
                <a:gd name="T18" fmla="*/ 482 w 966"/>
                <a:gd name="T19" fmla="*/ 270 h 2028"/>
                <a:gd name="T20" fmla="*/ 76 w 966"/>
                <a:gd name="T21" fmla="*/ 159 h 2028"/>
                <a:gd name="T22" fmla="*/ 482 w 966"/>
                <a:gd name="T23" fmla="*/ 48 h 2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6" h="2028">
                  <a:moveTo>
                    <a:pt x="482" y="2028"/>
                  </a:moveTo>
                  <a:cubicBezTo>
                    <a:pt x="663" y="2028"/>
                    <a:pt x="966" y="1993"/>
                    <a:pt x="966" y="1866"/>
                  </a:cubicBezTo>
                  <a:cubicBezTo>
                    <a:pt x="966" y="1076"/>
                    <a:pt x="966" y="162"/>
                    <a:pt x="966" y="162"/>
                  </a:cubicBezTo>
                  <a:cubicBezTo>
                    <a:pt x="966" y="34"/>
                    <a:pt x="663" y="0"/>
                    <a:pt x="482" y="0"/>
                  </a:cubicBezTo>
                  <a:cubicBezTo>
                    <a:pt x="303" y="0"/>
                    <a:pt x="0" y="34"/>
                    <a:pt x="0" y="162"/>
                  </a:cubicBezTo>
                  <a:cubicBezTo>
                    <a:pt x="0" y="952"/>
                    <a:pt x="0" y="1866"/>
                    <a:pt x="0" y="1866"/>
                  </a:cubicBezTo>
                  <a:cubicBezTo>
                    <a:pt x="0" y="1993"/>
                    <a:pt x="303" y="2028"/>
                    <a:pt x="482" y="2028"/>
                  </a:cubicBezTo>
                  <a:close/>
                  <a:moveTo>
                    <a:pt x="482" y="48"/>
                  </a:moveTo>
                  <a:cubicBezTo>
                    <a:pt x="708" y="48"/>
                    <a:pt x="890" y="97"/>
                    <a:pt x="890" y="159"/>
                  </a:cubicBezTo>
                  <a:cubicBezTo>
                    <a:pt x="890" y="220"/>
                    <a:pt x="708" y="270"/>
                    <a:pt x="482" y="270"/>
                  </a:cubicBezTo>
                  <a:cubicBezTo>
                    <a:pt x="258" y="270"/>
                    <a:pt x="76" y="220"/>
                    <a:pt x="76" y="159"/>
                  </a:cubicBezTo>
                  <a:cubicBezTo>
                    <a:pt x="76" y="97"/>
                    <a:pt x="258" y="48"/>
                    <a:pt x="482" y="48"/>
                  </a:cubicBezTo>
                  <a:close/>
                </a:path>
              </a:pathLst>
            </a:custGeom>
            <a:noFill/>
            <a:ln>
              <a:noFill/>
            </a:ln>
          </p:spPr>
          <p:txBody>
            <a:bodyPr vert="horz" wrap="square" lIns="91440" tIns="45720" rIns="91440" bIns="45720" numCol="1" anchor="ctr" anchorCtr="0" compatLnSpc="1">
              <a:prstTxWarp prst="textNoShape">
                <a:avLst/>
              </a:prstTxWarp>
            </a:bodyPr>
            <a:lstStyle/>
            <a:p>
              <a:pPr algn="ctr">
                <a:lnSpc>
                  <a:spcPct val="90000"/>
                </a:lnSpc>
              </a:pPr>
              <a:r>
                <a:rPr lang="en-US" sz="1400" dirty="0">
                  <a:solidFill>
                    <a:schemeClr val="tx1">
                      <a:alpha val="99000"/>
                    </a:schemeClr>
                  </a:solidFill>
                </a:rPr>
                <a:t>SQL Server</a:t>
              </a:r>
            </a:p>
            <a:p>
              <a:pPr algn="ctr">
                <a:lnSpc>
                  <a:spcPct val="90000"/>
                </a:lnSpc>
              </a:pPr>
              <a:r>
                <a:rPr lang="en-US" sz="1400" dirty="0">
                  <a:solidFill>
                    <a:schemeClr val="tx1">
                      <a:alpha val="99000"/>
                    </a:schemeClr>
                  </a:solidFill>
                </a:rPr>
                <a:t>Secondary </a:t>
              </a:r>
            </a:p>
          </p:txBody>
        </p:sp>
      </p:grpSp>
      <p:sp>
        <p:nvSpPr>
          <p:cNvPr id="45" name="Rectangle 44"/>
          <p:cNvSpPr/>
          <p:nvPr>
            <p:custDataLst>
              <p:tags r:id="rId8"/>
            </p:custDataLst>
          </p:nvPr>
        </p:nvSpPr>
        <p:spPr bwMode="auto">
          <a:xfrm>
            <a:off x="3757127" y="1135291"/>
            <a:ext cx="3896422" cy="463465"/>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0" tIns="34276" rIns="68550" bIns="34276" numCol="1" spcCol="0" rtlCol="0" anchor="ctr" anchorCtr="0" compatLnSpc="1">
            <a:prstTxWarp prst="textNoShape">
              <a:avLst/>
            </a:prstTxWarp>
          </a:bodyPr>
          <a:lstStyle/>
          <a:p>
            <a:pPr algn="ctr" defTabSz="685318" fontAlgn="base">
              <a:spcBef>
                <a:spcPct val="0"/>
              </a:spcBef>
              <a:spcAft>
                <a:spcPct val="0"/>
              </a:spcAft>
            </a:pPr>
            <a:r>
              <a:rPr lang="en-US" sz="1700" b="1" dirty="0">
                <a:gradFill>
                  <a:gsLst>
                    <a:gs pos="0">
                      <a:srgbClr val="FFFFFF"/>
                    </a:gs>
                    <a:gs pos="100000">
                      <a:srgbClr val="FFFFFF"/>
                    </a:gs>
                  </a:gsLst>
                  <a:lin ang="5400000" scaled="0"/>
                </a:gradFill>
              </a:rPr>
              <a:t>Availability set</a:t>
            </a:r>
          </a:p>
        </p:txBody>
      </p:sp>
    </p:spTree>
    <p:extLst>
      <p:ext uri="{BB962C8B-B14F-4D97-AF65-F5344CB8AC3E}">
        <p14:creationId xmlns:p14="http://schemas.microsoft.com/office/powerpoint/2010/main" val="104795510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5601841" y="3664338"/>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b"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55" name="Rectangle 54"/>
          <p:cNvSpPr/>
          <p:nvPr/>
        </p:nvSpPr>
        <p:spPr bwMode="auto">
          <a:xfrm>
            <a:off x="5601841" y="1377138"/>
            <a:ext cx="1760730"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34280" rIns="68559" bIns="34280" numCol="1" spcCol="0" rtlCol="0" anchor="b"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Persistent VM Role</a:t>
            </a:r>
          </a:p>
        </p:txBody>
      </p:sp>
      <p:sp>
        <p:nvSpPr>
          <p:cNvPr id="8" name="Text Placeholder 7"/>
          <p:cNvSpPr>
            <a:spLocks noGrp="1"/>
          </p:cNvSpPr>
          <p:nvPr>
            <p:ph type="body" sz="quarter" idx="10"/>
          </p:nvPr>
        </p:nvSpPr>
        <p:spPr>
          <a:xfrm>
            <a:off x="389436" y="1085849"/>
            <a:ext cx="8363938" cy="415499"/>
          </a:xfrm>
        </p:spPr>
        <p:txBody>
          <a:bodyPr/>
          <a:lstStyle/>
          <a:p>
            <a:r>
              <a:rPr lang="en-US" dirty="0"/>
              <a:t>Redundancy at every </a:t>
            </a:r>
            <a:r>
              <a:rPr lang="en-US" dirty="0" smtClean="0"/>
              <a:t>level</a:t>
            </a:r>
            <a:endParaRPr lang="en-US" dirty="0"/>
          </a:p>
        </p:txBody>
      </p:sp>
      <p:sp>
        <p:nvSpPr>
          <p:cNvPr id="2" name="Title 1"/>
          <p:cNvSpPr>
            <a:spLocks noGrp="1"/>
          </p:cNvSpPr>
          <p:nvPr>
            <p:ph type="title"/>
          </p:nvPr>
        </p:nvSpPr>
        <p:spPr/>
        <p:txBody>
          <a:bodyPr/>
          <a:lstStyle/>
          <a:p>
            <a:r>
              <a:rPr lang="en-US" smtClean="0"/>
              <a:t>End to End Highly Available Solution</a:t>
            </a:r>
            <a:endParaRPr lang="en-US" dirty="0"/>
          </a:p>
        </p:txBody>
      </p:sp>
      <p:sp>
        <p:nvSpPr>
          <p:cNvPr id="27" name="Down Arrow 26"/>
          <p:cNvSpPr/>
          <p:nvPr/>
        </p:nvSpPr>
        <p:spPr bwMode="auto">
          <a:xfrm rot="18387314">
            <a:off x="1983238" y="2577058"/>
            <a:ext cx="250326" cy="673318"/>
          </a:xfrm>
          <a:prstGeom prst="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900" dirty="0">
              <a:ln>
                <a:solidFill>
                  <a:srgbClr val="FFFFFF">
                    <a:alpha val="0"/>
                  </a:srgbClr>
                </a:solidFill>
              </a:ln>
              <a:solidFill>
                <a:srgbClr val="FFFFFF"/>
              </a:solidFill>
            </a:endParaRPr>
          </a:p>
        </p:txBody>
      </p:sp>
      <p:sp>
        <p:nvSpPr>
          <p:cNvPr id="44" name="Rectangle 43"/>
          <p:cNvSpPr/>
          <p:nvPr/>
        </p:nvSpPr>
        <p:spPr bwMode="auto">
          <a:xfrm>
            <a:off x="2800903" y="3262270"/>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68586" rIns="68559" bIns="34280" numCol="1" spcCol="0" rtlCol="0" anchor="t"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5" name="Rectangle 44"/>
          <p:cNvSpPr/>
          <p:nvPr/>
        </p:nvSpPr>
        <p:spPr bwMode="auto">
          <a:xfrm>
            <a:off x="2849732" y="3925093"/>
            <a:ext cx="1470452" cy="511328"/>
          </a:xfrm>
          <a:prstGeom prst="rect">
            <a:avLst/>
          </a:prstGeom>
          <a:solidFill>
            <a:schemeClr val="accent2"/>
          </a:solidFill>
          <a:ln w="9525" cap="flat" cmpd="sng" algn="ctr">
            <a:noFill/>
            <a:prstDash val="solid"/>
          </a:ln>
          <a:effectLst/>
        </p:spPr>
        <p:txBody>
          <a:bodyPr lIns="68586" tIns="34294" rIns="68586" bIns="68586" rtlCol="0" anchor="ctr" anchorCtr="0"/>
          <a:lstStyle/>
          <a:p>
            <a:pPr marL="0" lvl="1" algn="ctr" defTabSz="685580"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47" name="Rectangle 46"/>
          <p:cNvSpPr/>
          <p:nvPr/>
        </p:nvSpPr>
        <p:spPr bwMode="auto">
          <a:xfrm>
            <a:off x="2800903" y="1795482"/>
            <a:ext cx="1626144" cy="13256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59" tIns="68586" rIns="68559" bIns="34280" numCol="1" spcCol="0" rtlCol="0" anchor="t" anchorCtr="0" compatLnSpc="1">
            <a:prstTxWarp prst="textNoShape">
              <a:avLst/>
            </a:prstTxWarp>
          </a:bodyPr>
          <a:lstStyle/>
          <a:p>
            <a:pPr defTabSz="914362">
              <a:lnSpc>
                <a:spcPct val="90000"/>
              </a:lnSpc>
              <a:spcBef>
                <a:spcPct val="20000"/>
              </a:spcBef>
              <a:buSzPct val="80000"/>
            </a:pPr>
            <a:r>
              <a:rPr lang="en-US" sz="1500" dirty="0">
                <a:gradFill>
                  <a:gsLst>
                    <a:gs pos="0">
                      <a:srgbClr val="292929">
                        <a:lumMod val="90000"/>
                        <a:lumOff val="10000"/>
                      </a:srgbClr>
                    </a:gs>
                    <a:gs pos="86000">
                      <a:srgbClr val="292929">
                        <a:lumMod val="90000"/>
                        <a:lumOff val="10000"/>
                      </a:srgbClr>
                    </a:gs>
                  </a:gsLst>
                  <a:lin ang="5400000" scaled="0"/>
                </a:gradFill>
              </a:rPr>
              <a:t>IIS Web Application</a:t>
            </a:r>
          </a:p>
        </p:txBody>
      </p:sp>
      <p:sp>
        <p:nvSpPr>
          <p:cNvPr id="48" name="Rectangle 47"/>
          <p:cNvSpPr/>
          <p:nvPr/>
        </p:nvSpPr>
        <p:spPr bwMode="auto">
          <a:xfrm>
            <a:off x="2849732" y="2458303"/>
            <a:ext cx="1470452" cy="511328"/>
          </a:xfrm>
          <a:prstGeom prst="rect">
            <a:avLst/>
          </a:prstGeom>
          <a:solidFill>
            <a:schemeClr val="accent2"/>
          </a:solidFill>
          <a:ln w="9525" cap="flat" cmpd="sng" algn="ctr">
            <a:noFill/>
            <a:prstDash val="solid"/>
          </a:ln>
          <a:effectLst/>
        </p:spPr>
        <p:txBody>
          <a:bodyPr lIns="68586" tIns="34294" rIns="68586" bIns="68586" rtlCol="0" anchor="ctr" anchorCtr="0"/>
          <a:lstStyle/>
          <a:p>
            <a:pPr marL="0" lvl="1" algn="ctr" defTabSz="685580" fontAlgn="base">
              <a:spcBef>
                <a:spcPct val="0"/>
              </a:spcBef>
              <a:spcAft>
                <a:spcPct val="0"/>
              </a:spcAft>
              <a:buClr>
                <a:srgbClr val="FFC000"/>
              </a:buClr>
              <a:defRPr/>
            </a:pPr>
            <a:r>
              <a:rPr lang="en-US" kern="0" spc="-38" dirty="0">
                <a:solidFill>
                  <a:srgbClr val="FFFFFF">
                    <a:alpha val="99000"/>
                  </a:srgbClr>
                </a:solidFill>
                <a:ea typeface="Segoe UI" pitchFamily="34" charset="0"/>
                <a:cs typeface="Segoe UI" pitchFamily="34" charset="0"/>
              </a:rPr>
              <a:t>Web Role</a:t>
            </a:r>
          </a:p>
        </p:txBody>
      </p:sp>
      <p:sp>
        <p:nvSpPr>
          <p:cNvPr id="51" name="TextBox 50"/>
          <p:cNvSpPr txBox="1"/>
          <p:nvPr/>
        </p:nvSpPr>
        <p:spPr>
          <a:xfrm>
            <a:off x="2314491" y="3141221"/>
            <a:ext cx="278167" cy="249299"/>
          </a:xfrm>
          <a:prstGeom prst="rect">
            <a:avLst/>
          </a:prstGeom>
          <a:noFill/>
        </p:spPr>
        <p:txBody>
          <a:bodyPr wrap="square" lIns="0" tIns="0" rIns="0" bIns="0" rtlCol="0">
            <a:spAutoFit/>
          </a:bodyPr>
          <a:lstStyle/>
          <a:p>
            <a:pPr defTabSz="914362">
              <a:lnSpc>
                <a:spcPct val="90000"/>
              </a:lnSpc>
              <a:spcBef>
                <a:spcPct val="20000"/>
              </a:spcBef>
              <a:buSzPct val="80000"/>
            </a:pPr>
            <a:r>
              <a:rPr lang="en-US" dirty="0">
                <a:gradFill>
                  <a:gsLst>
                    <a:gs pos="0">
                      <a:srgbClr val="292929">
                        <a:lumMod val="90000"/>
                        <a:lumOff val="10000"/>
                      </a:srgbClr>
                    </a:gs>
                    <a:gs pos="86000">
                      <a:srgbClr val="292929">
                        <a:lumMod val="90000"/>
                        <a:lumOff val="10000"/>
                      </a:srgbClr>
                    </a:gs>
                  </a:gsLst>
                  <a:lin ang="5400000" scaled="0"/>
                </a:gradFill>
              </a:rPr>
              <a:t>LB</a:t>
            </a:r>
          </a:p>
        </p:txBody>
      </p:sp>
      <p:cxnSp>
        <p:nvCxnSpPr>
          <p:cNvPr id="53" name="Elbow Connector 15"/>
          <p:cNvCxnSpPr>
            <a:stCxn id="51" idx="3"/>
          </p:cNvCxnSpPr>
          <p:nvPr/>
        </p:nvCxnSpPr>
        <p:spPr>
          <a:xfrm flipV="1">
            <a:off x="2592658" y="2732276"/>
            <a:ext cx="257075" cy="533595"/>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Elbow Connector 15"/>
          <p:cNvCxnSpPr>
            <a:stCxn id="51" idx="3"/>
            <a:endCxn id="45" idx="1"/>
          </p:cNvCxnSpPr>
          <p:nvPr/>
        </p:nvCxnSpPr>
        <p:spPr>
          <a:xfrm>
            <a:off x="2592658" y="3265870"/>
            <a:ext cx="257075" cy="914886"/>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0" name="Up-Down Arrow 59"/>
          <p:cNvSpPr/>
          <p:nvPr/>
        </p:nvSpPr>
        <p:spPr bwMode="auto">
          <a:xfrm>
            <a:off x="6326177" y="2690943"/>
            <a:ext cx="262214" cy="986252"/>
          </a:xfrm>
          <a:prstGeom prst="upDownArrow">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900" dirty="0">
              <a:ln>
                <a:solidFill>
                  <a:srgbClr val="FFFFFF">
                    <a:alpha val="0"/>
                  </a:srgbClr>
                </a:solidFill>
              </a:ln>
              <a:solidFill>
                <a:srgbClr val="FFFFFF"/>
              </a:solidFill>
            </a:endParaRPr>
          </a:p>
        </p:txBody>
      </p:sp>
      <p:sp>
        <p:nvSpPr>
          <p:cNvPr id="61" name="Rectangle 60"/>
          <p:cNvSpPr/>
          <p:nvPr/>
        </p:nvSpPr>
        <p:spPr bwMode="auto">
          <a:xfrm>
            <a:off x="6845317" y="2702781"/>
            <a:ext cx="406457" cy="961352"/>
          </a:xfrm>
          <a:prstGeom prst="rect">
            <a:avLst/>
          </a:prstGeom>
          <a:solidFill>
            <a:schemeClr val="bg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vert270" wrap="none" lIns="68583" tIns="34292" rIns="68583" bIns="34292" numCol="1" rtlCol="0" anchor="ctr" anchorCtr="0" compatLnSpc="1">
            <a:prstTxWarp prst="textNoShape">
              <a:avLst/>
            </a:prstTxWarp>
          </a:bodyPr>
          <a:lstStyle/>
          <a:p>
            <a:pPr marL="0" lvl="1" algn="ctr" defTabSz="685580" fontAlgn="base">
              <a:spcBef>
                <a:spcPct val="0"/>
              </a:spcBef>
              <a:spcAft>
                <a:spcPct val="0"/>
              </a:spcAft>
              <a:buClr>
                <a:srgbClr val="FFC000"/>
              </a:buClr>
              <a:defRPr/>
            </a:pPr>
            <a:r>
              <a:rPr lang="en-US" sz="1200" kern="0" spc="-38" dirty="0">
                <a:solidFill>
                  <a:srgbClr val="FFFFFF">
                    <a:alpha val="99000"/>
                  </a:srgbClr>
                </a:solidFill>
                <a:ea typeface="Segoe UI" pitchFamily="34" charset="0"/>
                <a:cs typeface="Segoe UI" pitchFamily="34" charset="0"/>
              </a:rPr>
              <a:t>SQL Mirroring</a:t>
            </a:r>
          </a:p>
        </p:txBody>
      </p:sp>
      <p:sp>
        <p:nvSpPr>
          <p:cNvPr id="65" name="Rectangle 64"/>
          <p:cNvSpPr/>
          <p:nvPr/>
        </p:nvSpPr>
        <p:spPr bwMode="auto">
          <a:xfrm>
            <a:off x="5585700" y="1377008"/>
            <a:ext cx="1776869" cy="3612973"/>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66" name="Rectangle 65"/>
          <p:cNvSpPr/>
          <p:nvPr/>
        </p:nvSpPr>
        <p:spPr bwMode="auto">
          <a:xfrm>
            <a:off x="2800903" y="1795483"/>
            <a:ext cx="1626144" cy="2792431"/>
          </a:xfrm>
          <a:prstGeom prst="rect">
            <a:avLst/>
          </a:prstGeom>
          <a:noFill/>
          <a:ln w="19050">
            <a:solidFill>
              <a:schemeClr val="accent5"/>
            </a:solidFill>
            <a:prstDash val="dash"/>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ctr" anchorCtr="0" compatLnSpc="1">
            <a:prstTxWarp prst="textNoShape">
              <a:avLst/>
            </a:prstTxWarp>
          </a:bodyPr>
          <a:lstStyle/>
          <a:p>
            <a:pPr algn="ctr" defTabSz="685637"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0" name="Group 9"/>
          <p:cNvGrpSpPr/>
          <p:nvPr/>
        </p:nvGrpSpPr>
        <p:grpSpPr>
          <a:xfrm>
            <a:off x="381100" y="1795482"/>
            <a:ext cx="1350180" cy="1349828"/>
            <a:chOff x="508000" y="2203271"/>
            <a:chExt cx="1799771" cy="1799771"/>
          </a:xfrm>
        </p:grpSpPr>
        <p:sp>
          <p:nvSpPr>
            <p:cNvPr id="9" name="Rectangle 8"/>
            <p:cNvSpPr/>
            <p:nvPr/>
          </p:nvSpPr>
          <p:spPr bwMode="auto">
            <a:xfrm>
              <a:off x="508000" y="2203271"/>
              <a:ext cx="1799771" cy="179977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b" anchorCtr="0" forceAA="0" compatLnSpc="1">
              <a:prstTxWarp prst="textNoShape">
                <a:avLst/>
              </a:prstTxWarp>
              <a:noAutofit/>
            </a:bodyPr>
            <a:lstStyle/>
            <a:p>
              <a:pPr defTabSz="685666" fontAlgn="base">
                <a:spcBef>
                  <a:spcPct val="0"/>
                </a:spcBef>
                <a:spcAft>
                  <a:spcPct val="0"/>
                </a:spcAft>
              </a:pPr>
              <a:r>
                <a:rPr lang="en-US" dirty="0">
                  <a:gradFill>
                    <a:gsLst>
                      <a:gs pos="0">
                        <a:srgbClr val="FFFFFF"/>
                      </a:gs>
                      <a:gs pos="100000">
                        <a:srgbClr val="FFFFFF"/>
                      </a:gs>
                    </a:gsLst>
                    <a:lin ang="5400000" scaled="0"/>
                  </a:gradFill>
                  <a:ea typeface="Segoe UI" pitchFamily="34" charset="0"/>
                  <a:cs typeface="Segoe UI" pitchFamily="34" charset="0"/>
                </a:rPr>
                <a:t>Internet</a:t>
              </a:r>
            </a:p>
          </p:txBody>
        </p:sp>
        <p:grpSp>
          <p:nvGrpSpPr>
            <p:cNvPr id="68" name="Group 67"/>
            <p:cNvGrpSpPr/>
            <p:nvPr/>
          </p:nvGrpSpPr>
          <p:grpSpPr>
            <a:xfrm>
              <a:off x="748459" y="2603641"/>
              <a:ext cx="1318853" cy="744211"/>
              <a:chOff x="7683468" y="2188241"/>
              <a:chExt cx="1543891" cy="871196"/>
            </a:xfrm>
          </p:grpSpPr>
          <p:pic>
            <p:nvPicPr>
              <p:cNvPr id="70" name="Picture 2"/>
              <p:cNvPicPr>
                <a:picLocks noChangeAspect="1" noChangeArrowheads="1"/>
              </p:cNvPicPr>
              <p:nvPr/>
            </p:nvPicPr>
            <p:blipFill rotWithShape="1">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b="57994"/>
              <a:stretch/>
            </p:blipFill>
            <p:spPr bwMode="auto">
              <a:xfrm>
                <a:off x="7683468" y="2188241"/>
                <a:ext cx="1543891" cy="871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1" name="Freeform 6"/>
              <p:cNvSpPr>
                <a:spLocks noChangeAspect="1" noEditPoints="1"/>
              </p:cNvSpPr>
              <p:nvPr/>
            </p:nvSpPr>
            <p:spPr bwMode="black">
              <a:xfrm>
                <a:off x="8553388" y="2268211"/>
                <a:ext cx="481758" cy="487799"/>
              </a:xfrm>
              <a:custGeom>
                <a:avLst/>
                <a:gdLst>
                  <a:gd name="T0" fmla="*/ 84 w 84"/>
                  <a:gd name="T1" fmla="*/ 43 h 85"/>
                  <a:gd name="T2" fmla="*/ 0 w 84"/>
                  <a:gd name="T3" fmla="*/ 43 h 85"/>
                  <a:gd name="T4" fmla="*/ 76 w 84"/>
                  <a:gd name="T5" fmla="*/ 27 h 85"/>
                  <a:gd name="T6" fmla="*/ 65 w 84"/>
                  <a:gd name="T7" fmla="*/ 40 h 85"/>
                  <a:gd name="T8" fmla="*/ 76 w 84"/>
                  <a:gd name="T9" fmla="*/ 27 h 85"/>
                  <a:gd name="T10" fmla="*/ 45 w 84"/>
                  <a:gd name="T11" fmla="*/ 27 h 85"/>
                  <a:gd name="T12" fmla="*/ 62 w 84"/>
                  <a:gd name="T13" fmla="*/ 40 h 85"/>
                  <a:gd name="T14" fmla="*/ 40 w 84"/>
                  <a:gd name="T15" fmla="*/ 27 h 85"/>
                  <a:gd name="T16" fmla="*/ 21 w 84"/>
                  <a:gd name="T17" fmla="*/ 40 h 85"/>
                  <a:gd name="T18" fmla="*/ 40 w 84"/>
                  <a:gd name="T19" fmla="*/ 27 h 85"/>
                  <a:gd name="T20" fmla="*/ 8 w 84"/>
                  <a:gd name="T21" fmla="*/ 27 h 85"/>
                  <a:gd name="T22" fmla="*/ 19 w 84"/>
                  <a:gd name="T23" fmla="*/ 40 h 85"/>
                  <a:gd name="T24" fmla="*/ 10 w 84"/>
                  <a:gd name="T25" fmla="*/ 21 h 85"/>
                  <a:gd name="T26" fmla="*/ 30 w 84"/>
                  <a:gd name="T27" fmla="*/ 6 h 85"/>
                  <a:gd name="T28" fmla="*/ 25 w 84"/>
                  <a:gd name="T29" fmla="*/ 21 h 85"/>
                  <a:gd name="T30" fmla="*/ 40 w 84"/>
                  <a:gd name="T31" fmla="*/ 4 h 85"/>
                  <a:gd name="T32" fmla="*/ 45 w 84"/>
                  <a:gd name="T33" fmla="*/ 21 h 85"/>
                  <a:gd name="T34" fmla="*/ 45 w 84"/>
                  <a:gd name="T35" fmla="*/ 5 h 85"/>
                  <a:gd name="T36" fmla="*/ 62 w 84"/>
                  <a:gd name="T37" fmla="*/ 21 h 85"/>
                  <a:gd name="T38" fmla="*/ 54 w 84"/>
                  <a:gd name="T39" fmla="*/ 6 h 85"/>
                  <a:gd name="T40" fmla="*/ 80 w 84"/>
                  <a:gd name="T41" fmla="*/ 45 h 85"/>
                  <a:gd name="T42" fmla="*/ 63 w 84"/>
                  <a:gd name="T43" fmla="*/ 59 h 85"/>
                  <a:gd name="T44" fmla="*/ 80 w 84"/>
                  <a:gd name="T45" fmla="*/ 45 h 85"/>
                  <a:gd name="T46" fmla="*/ 45 w 84"/>
                  <a:gd name="T47" fmla="*/ 45 h 85"/>
                  <a:gd name="T48" fmla="*/ 61 w 84"/>
                  <a:gd name="T49" fmla="*/ 59 h 85"/>
                  <a:gd name="T50" fmla="*/ 40 w 84"/>
                  <a:gd name="T51" fmla="*/ 45 h 85"/>
                  <a:gd name="T52" fmla="*/ 23 w 84"/>
                  <a:gd name="T53" fmla="*/ 59 h 85"/>
                  <a:gd name="T54" fmla="*/ 40 w 84"/>
                  <a:gd name="T55" fmla="*/ 45 h 85"/>
                  <a:gd name="T56" fmla="*/ 4 w 84"/>
                  <a:gd name="T57" fmla="*/ 45 h 85"/>
                  <a:gd name="T58" fmla="*/ 21 w 84"/>
                  <a:gd name="T59" fmla="*/ 59 h 85"/>
                  <a:gd name="T60" fmla="*/ 45 w 84"/>
                  <a:gd name="T61" fmla="*/ 64 h 85"/>
                  <a:gd name="T62" fmla="*/ 59 w 84"/>
                  <a:gd name="T63" fmla="*/ 64 h 85"/>
                  <a:gd name="T64" fmla="*/ 40 w 84"/>
                  <a:gd name="T65" fmla="*/ 81 h 85"/>
                  <a:gd name="T66" fmla="*/ 25 w 84"/>
                  <a:gd name="T67" fmla="*/ 64 h 85"/>
                  <a:gd name="T68" fmla="*/ 73 w 84"/>
                  <a:gd name="T69" fmla="*/ 64 h 85"/>
                  <a:gd name="T70" fmla="*/ 54 w 84"/>
                  <a:gd name="T71" fmla="*/ 79 h 85"/>
                  <a:gd name="T72" fmla="*/ 22 w 84"/>
                  <a:gd name="T73" fmla="*/ 64 h 85"/>
                  <a:gd name="T74" fmla="*/ 30 w 84"/>
                  <a:gd name="T75" fmla="*/ 79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4" h="85">
                    <a:moveTo>
                      <a:pt x="42" y="0"/>
                    </a:moveTo>
                    <a:cubicBezTo>
                      <a:pt x="65" y="0"/>
                      <a:pt x="84" y="19"/>
                      <a:pt x="84" y="43"/>
                    </a:cubicBezTo>
                    <a:cubicBezTo>
                      <a:pt x="84" y="66"/>
                      <a:pt x="65" y="85"/>
                      <a:pt x="42" y="85"/>
                    </a:cubicBezTo>
                    <a:cubicBezTo>
                      <a:pt x="19" y="85"/>
                      <a:pt x="0" y="66"/>
                      <a:pt x="0" y="43"/>
                    </a:cubicBezTo>
                    <a:cubicBezTo>
                      <a:pt x="0" y="19"/>
                      <a:pt x="19" y="0"/>
                      <a:pt x="42" y="0"/>
                    </a:cubicBezTo>
                    <a:close/>
                    <a:moveTo>
                      <a:pt x="76" y="27"/>
                    </a:moveTo>
                    <a:cubicBezTo>
                      <a:pt x="63" y="27"/>
                      <a:pt x="63" y="27"/>
                      <a:pt x="63" y="27"/>
                    </a:cubicBezTo>
                    <a:cubicBezTo>
                      <a:pt x="64" y="31"/>
                      <a:pt x="65" y="35"/>
                      <a:pt x="65" y="40"/>
                    </a:cubicBezTo>
                    <a:cubicBezTo>
                      <a:pt x="80" y="40"/>
                      <a:pt x="80" y="40"/>
                      <a:pt x="80" y="40"/>
                    </a:cubicBezTo>
                    <a:cubicBezTo>
                      <a:pt x="79" y="35"/>
                      <a:pt x="78" y="31"/>
                      <a:pt x="76" y="27"/>
                    </a:cubicBezTo>
                    <a:close/>
                    <a:moveTo>
                      <a:pt x="61" y="27"/>
                    </a:moveTo>
                    <a:cubicBezTo>
                      <a:pt x="45" y="27"/>
                      <a:pt x="45" y="27"/>
                      <a:pt x="45" y="27"/>
                    </a:cubicBezTo>
                    <a:cubicBezTo>
                      <a:pt x="45" y="40"/>
                      <a:pt x="45" y="40"/>
                      <a:pt x="45" y="40"/>
                    </a:cubicBezTo>
                    <a:cubicBezTo>
                      <a:pt x="62" y="40"/>
                      <a:pt x="62" y="40"/>
                      <a:pt x="62" y="40"/>
                    </a:cubicBezTo>
                    <a:cubicBezTo>
                      <a:pt x="62" y="35"/>
                      <a:pt x="62" y="31"/>
                      <a:pt x="61" y="27"/>
                    </a:cubicBezTo>
                    <a:close/>
                    <a:moveTo>
                      <a:pt x="40" y="27"/>
                    </a:moveTo>
                    <a:cubicBezTo>
                      <a:pt x="23" y="27"/>
                      <a:pt x="23" y="27"/>
                      <a:pt x="23" y="27"/>
                    </a:cubicBezTo>
                    <a:cubicBezTo>
                      <a:pt x="22" y="31"/>
                      <a:pt x="22" y="35"/>
                      <a:pt x="21" y="40"/>
                    </a:cubicBezTo>
                    <a:cubicBezTo>
                      <a:pt x="40" y="40"/>
                      <a:pt x="40" y="40"/>
                      <a:pt x="40" y="40"/>
                    </a:cubicBezTo>
                    <a:cubicBezTo>
                      <a:pt x="40" y="27"/>
                      <a:pt x="40" y="27"/>
                      <a:pt x="40" y="27"/>
                    </a:cubicBezTo>
                    <a:close/>
                    <a:moveTo>
                      <a:pt x="21" y="27"/>
                    </a:moveTo>
                    <a:cubicBezTo>
                      <a:pt x="8" y="27"/>
                      <a:pt x="8" y="27"/>
                      <a:pt x="8" y="27"/>
                    </a:cubicBezTo>
                    <a:cubicBezTo>
                      <a:pt x="6" y="31"/>
                      <a:pt x="5" y="35"/>
                      <a:pt x="4" y="40"/>
                    </a:cubicBezTo>
                    <a:cubicBezTo>
                      <a:pt x="19" y="40"/>
                      <a:pt x="19" y="40"/>
                      <a:pt x="19" y="40"/>
                    </a:cubicBezTo>
                    <a:cubicBezTo>
                      <a:pt x="19" y="35"/>
                      <a:pt x="20" y="31"/>
                      <a:pt x="21" y="27"/>
                    </a:cubicBezTo>
                    <a:close/>
                    <a:moveTo>
                      <a:pt x="10" y="21"/>
                    </a:moveTo>
                    <a:cubicBezTo>
                      <a:pt x="22" y="21"/>
                      <a:pt x="22" y="21"/>
                      <a:pt x="22" y="21"/>
                    </a:cubicBezTo>
                    <a:cubicBezTo>
                      <a:pt x="24" y="15"/>
                      <a:pt x="27" y="10"/>
                      <a:pt x="30" y="6"/>
                    </a:cubicBezTo>
                    <a:cubicBezTo>
                      <a:pt x="22" y="9"/>
                      <a:pt x="15" y="14"/>
                      <a:pt x="10" y="21"/>
                    </a:cubicBezTo>
                    <a:close/>
                    <a:moveTo>
                      <a:pt x="25" y="21"/>
                    </a:moveTo>
                    <a:cubicBezTo>
                      <a:pt x="40" y="21"/>
                      <a:pt x="40" y="21"/>
                      <a:pt x="40" y="21"/>
                    </a:cubicBezTo>
                    <a:cubicBezTo>
                      <a:pt x="40" y="4"/>
                      <a:pt x="40" y="4"/>
                      <a:pt x="40" y="4"/>
                    </a:cubicBezTo>
                    <a:cubicBezTo>
                      <a:pt x="33" y="6"/>
                      <a:pt x="28" y="12"/>
                      <a:pt x="25" y="21"/>
                    </a:cubicBezTo>
                    <a:close/>
                    <a:moveTo>
                      <a:pt x="45" y="21"/>
                    </a:moveTo>
                    <a:cubicBezTo>
                      <a:pt x="59" y="21"/>
                      <a:pt x="59" y="21"/>
                      <a:pt x="59" y="21"/>
                    </a:cubicBezTo>
                    <a:cubicBezTo>
                      <a:pt x="56" y="12"/>
                      <a:pt x="51" y="6"/>
                      <a:pt x="45" y="5"/>
                    </a:cubicBezTo>
                    <a:cubicBezTo>
                      <a:pt x="45" y="21"/>
                      <a:pt x="45" y="21"/>
                      <a:pt x="45" y="21"/>
                    </a:cubicBezTo>
                    <a:close/>
                    <a:moveTo>
                      <a:pt x="62" y="21"/>
                    </a:moveTo>
                    <a:cubicBezTo>
                      <a:pt x="73" y="21"/>
                      <a:pt x="73" y="21"/>
                      <a:pt x="73" y="21"/>
                    </a:cubicBezTo>
                    <a:cubicBezTo>
                      <a:pt x="69" y="14"/>
                      <a:pt x="62" y="9"/>
                      <a:pt x="54" y="6"/>
                    </a:cubicBezTo>
                    <a:cubicBezTo>
                      <a:pt x="57" y="10"/>
                      <a:pt x="60" y="15"/>
                      <a:pt x="62" y="21"/>
                    </a:cubicBezTo>
                    <a:close/>
                    <a:moveTo>
                      <a:pt x="80" y="45"/>
                    </a:moveTo>
                    <a:cubicBezTo>
                      <a:pt x="65" y="45"/>
                      <a:pt x="65" y="45"/>
                      <a:pt x="65" y="45"/>
                    </a:cubicBezTo>
                    <a:cubicBezTo>
                      <a:pt x="65" y="50"/>
                      <a:pt x="64" y="54"/>
                      <a:pt x="63" y="59"/>
                    </a:cubicBezTo>
                    <a:cubicBezTo>
                      <a:pt x="76" y="59"/>
                      <a:pt x="76" y="59"/>
                      <a:pt x="76" y="59"/>
                    </a:cubicBezTo>
                    <a:cubicBezTo>
                      <a:pt x="78" y="54"/>
                      <a:pt x="79" y="50"/>
                      <a:pt x="80" y="45"/>
                    </a:cubicBezTo>
                    <a:close/>
                    <a:moveTo>
                      <a:pt x="62" y="45"/>
                    </a:moveTo>
                    <a:cubicBezTo>
                      <a:pt x="45" y="45"/>
                      <a:pt x="45" y="45"/>
                      <a:pt x="45" y="45"/>
                    </a:cubicBezTo>
                    <a:cubicBezTo>
                      <a:pt x="45" y="59"/>
                      <a:pt x="45" y="59"/>
                      <a:pt x="45" y="59"/>
                    </a:cubicBezTo>
                    <a:cubicBezTo>
                      <a:pt x="61" y="59"/>
                      <a:pt x="61" y="59"/>
                      <a:pt x="61" y="59"/>
                    </a:cubicBezTo>
                    <a:cubicBezTo>
                      <a:pt x="62" y="54"/>
                      <a:pt x="62" y="50"/>
                      <a:pt x="62" y="45"/>
                    </a:cubicBezTo>
                    <a:close/>
                    <a:moveTo>
                      <a:pt x="40" y="45"/>
                    </a:moveTo>
                    <a:cubicBezTo>
                      <a:pt x="21" y="45"/>
                      <a:pt x="21" y="45"/>
                      <a:pt x="21" y="45"/>
                    </a:cubicBezTo>
                    <a:cubicBezTo>
                      <a:pt x="22" y="50"/>
                      <a:pt x="22" y="54"/>
                      <a:pt x="23" y="59"/>
                    </a:cubicBezTo>
                    <a:cubicBezTo>
                      <a:pt x="40" y="59"/>
                      <a:pt x="40" y="59"/>
                      <a:pt x="40" y="59"/>
                    </a:cubicBezTo>
                    <a:cubicBezTo>
                      <a:pt x="40" y="45"/>
                      <a:pt x="40" y="45"/>
                      <a:pt x="40" y="45"/>
                    </a:cubicBezTo>
                    <a:close/>
                    <a:moveTo>
                      <a:pt x="19" y="45"/>
                    </a:moveTo>
                    <a:cubicBezTo>
                      <a:pt x="4" y="45"/>
                      <a:pt x="4" y="45"/>
                      <a:pt x="4" y="45"/>
                    </a:cubicBezTo>
                    <a:cubicBezTo>
                      <a:pt x="5" y="50"/>
                      <a:pt x="6" y="54"/>
                      <a:pt x="8" y="59"/>
                    </a:cubicBezTo>
                    <a:cubicBezTo>
                      <a:pt x="21" y="59"/>
                      <a:pt x="21" y="59"/>
                      <a:pt x="21" y="59"/>
                    </a:cubicBezTo>
                    <a:cubicBezTo>
                      <a:pt x="20" y="54"/>
                      <a:pt x="19" y="50"/>
                      <a:pt x="19" y="45"/>
                    </a:cubicBezTo>
                    <a:close/>
                    <a:moveTo>
                      <a:pt x="45" y="64"/>
                    </a:moveTo>
                    <a:cubicBezTo>
                      <a:pt x="45" y="81"/>
                      <a:pt x="45" y="81"/>
                      <a:pt x="45" y="81"/>
                    </a:cubicBezTo>
                    <a:cubicBezTo>
                      <a:pt x="51" y="79"/>
                      <a:pt x="56" y="73"/>
                      <a:pt x="59" y="64"/>
                    </a:cubicBezTo>
                    <a:cubicBezTo>
                      <a:pt x="45" y="64"/>
                      <a:pt x="45" y="64"/>
                      <a:pt x="45" y="64"/>
                    </a:cubicBezTo>
                    <a:close/>
                    <a:moveTo>
                      <a:pt x="40" y="81"/>
                    </a:moveTo>
                    <a:cubicBezTo>
                      <a:pt x="40" y="64"/>
                      <a:pt x="40" y="64"/>
                      <a:pt x="40" y="64"/>
                    </a:cubicBezTo>
                    <a:cubicBezTo>
                      <a:pt x="25" y="64"/>
                      <a:pt x="25" y="64"/>
                      <a:pt x="25" y="64"/>
                    </a:cubicBezTo>
                    <a:cubicBezTo>
                      <a:pt x="28" y="73"/>
                      <a:pt x="33" y="79"/>
                      <a:pt x="40" y="81"/>
                    </a:cubicBezTo>
                    <a:close/>
                    <a:moveTo>
                      <a:pt x="73" y="64"/>
                    </a:moveTo>
                    <a:cubicBezTo>
                      <a:pt x="62" y="64"/>
                      <a:pt x="62" y="64"/>
                      <a:pt x="62" y="64"/>
                    </a:cubicBezTo>
                    <a:cubicBezTo>
                      <a:pt x="60" y="70"/>
                      <a:pt x="57" y="75"/>
                      <a:pt x="54" y="79"/>
                    </a:cubicBezTo>
                    <a:cubicBezTo>
                      <a:pt x="62" y="76"/>
                      <a:pt x="69" y="71"/>
                      <a:pt x="73" y="64"/>
                    </a:cubicBezTo>
                    <a:close/>
                    <a:moveTo>
                      <a:pt x="22" y="64"/>
                    </a:moveTo>
                    <a:cubicBezTo>
                      <a:pt x="11" y="64"/>
                      <a:pt x="11" y="64"/>
                      <a:pt x="11" y="64"/>
                    </a:cubicBezTo>
                    <a:cubicBezTo>
                      <a:pt x="15" y="71"/>
                      <a:pt x="22" y="76"/>
                      <a:pt x="30" y="79"/>
                    </a:cubicBezTo>
                    <a:cubicBezTo>
                      <a:pt x="27" y="75"/>
                      <a:pt x="24" y="70"/>
                      <a:pt x="22" y="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algn="ctr" defTabSz="914362"/>
                <a:endParaRPr lang="en-US">
                  <a:solidFill>
                    <a:srgbClr val="292929"/>
                  </a:solidFill>
                </a:endParaRPr>
              </a:p>
            </p:txBody>
          </p:sp>
        </p:grpSp>
      </p:grpSp>
      <p:cxnSp>
        <p:nvCxnSpPr>
          <p:cNvPr id="5" name="Straight Arrow Connector 4"/>
          <p:cNvCxnSpPr>
            <a:stCxn id="66" idx="3"/>
            <a:endCxn id="65" idx="1"/>
          </p:cNvCxnSpPr>
          <p:nvPr/>
        </p:nvCxnSpPr>
        <p:spPr>
          <a:xfrm flipV="1">
            <a:off x="4427046" y="3183495"/>
            <a:ext cx="1158654" cy="8204"/>
          </a:xfrm>
          <a:prstGeom prst="straightConnector1">
            <a:avLst/>
          </a:prstGeom>
          <a:ln w="31750">
            <a:solidFill>
              <a:schemeClr val="bg1">
                <a:lumMod val="50000"/>
              </a:schemeClr>
            </a:solidFill>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7431396" y="1383935"/>
            <a:ext cx="755720"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0000">
                    <a:alpha val="99000"/>
                  </a:srgbClr>
                </a:solidFill>
              </a:rPr>
              <a:t>SQL-AVSET</a:t>
            </a:r>
          </a:p>
        </p:txBody>
      </p:sp>
      <p:sp>
        <p:nvSpPr>
          <p:cNvPr id="62" name="TextBox 61"/>
          <p:cNvSpPr txBox="1"/>
          <p:nvPr/>
        </p:nvSpPr>
        <p:spPr>
          <a:xfrm>
            <a:off x="4539161" y="1791110"/>
            <a:ext cx="651525" cy="166199"/>
          </a:xfrm>
          <a:prstGeom prst="rect">
            <a:avLst/>
          </a:prstGeom>
          <a:noFill/>
        </p:spPr>
        <p:txBody>
          <a:bodyPr wrap="none" lIns="0" tIns="0" rIns="0" bIns="0" rtlCol="0">
            <a:spAutoFit/>
          </a:bodyPr>
          <a:lstStyle/>
          <a:p>
            <a:pPr>
              <a:lnSpc>
                <a:spcPct val="90000"/>
              </a:lnSpc>
              <a:spcBef>
                <a:spcPct val="20000"/>
              </a:spcBef>
              <a:buSzPct val="80000"/>
            </a:pPr>
            <a:r>
              <a:rPr lang="en-US" sz="1200" dirty="0">
                <a:solidFill>
                  <a:srgbClr val="FF0000">
                    <a:alpha val="99000"/>
                  </a:srgbClr>
                </a:solidFill>
              </a:rPr>
              <a:t>IIS-AVSET</a:t>
            </a:r>
          </a:p>
        </p:txBody>
      </p:sp>
      <p:sp>
        <p:nvSpPr>
          <p:cNvPr id="38" name="Freeform 37"/>
          <p:cNvSpPr>
            <a:spLocks noEditPoints="1"/>
          </p:cNvSpPr>
          <p:nvPr/>
        </p:nvSpPr>
        <p:spPr bwMode="auto">
          <a:xfrm flipH="1">
            <a:off x="6116010" y="3870581"/>
            <a:ext cx="643364" cy="752127"/>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1449" tIns="137178" rIns="51449" bIns="25725" rtlCol="0" anchor="ctr"/>
          <a:lstStyle/>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erver</a:t>
            </a:r>
          </a:p>
        </p:txBody>
      </p:sp>
      <p:sp>
        <p:nvSpPr>
          <p:cNvPr id="39" name="Freeform 38"/>
          <p:cNvSpPr>
            <a:spLocks noEditPoints="1"/>
          </p:cNvSpPr>
          <p:nvPr/>
        </p:nvSpPr>
        <p:spPr bwMode="auto">
          <a:xfrm flipH="1">
            <a:off x="6116010" y="1603472"/>
            <a:ext cx="643364" cy="752127"/>
          </a:xfrm>
          <a:custGeom>
            <a:avLst/>
            <a:gdLst>
              <a:gd name="T0" fmla="*/ 52 w 105"/>
              <a:gd name="T1" fmla="*/ 0 h 123"/>
              <a:gd name="T2" fmla="*/ 0 w 105"/>
              <a:gd name="T3" fmla="*/ 17 h 123"/>
              <a:gd name="T4" fmla="*/ 0 w 105"/>
              <a:gd name="T5" fmla="*/ 106 h 123"/>
              <a:gd name="T6" fmla="*/ 52 w 105"/>
              <a:gd name="T7" fmla="*/ 123 h 123"/>
              <a:gd name="T8" fmla="*/ 105 w 105"/>
              <a:gd name="T9" fmla="*/ 106 h 123"/>
              <a:gd name="T10" fmla="*/ 105 w 105"/>
              <a:gd name="T11" fmla="*/ 17 h 123"/>
              <a:gd name="T12" fmla="*/ 52 w 105"/>
              <a:gd name="T13" fmla="*/ 0 h 123"/>
              <a:gd name="T14" fmla="*/ 52 w 105"/>
              <a:gd name="T15" fmla="*/ 29 h 123"/>
              <a:gd name="T16" fmla="*/ 7 w 105"/>
              <a:gd name="T17" fmla="*/ 17 h 123"/>
              <a:gd name="T18" fmla="*/ 52 w 105"/>
              <a:gd name="T19" fmla="*/ 6 h 123"/>
              <a:gd name="T20" fmla="*/ 97 w 105"/>
              <a:gd name="T21" fmla="*/ 17 h 123"/>
              <a:gd name="T22" fmla="*/ 52 w 105"/>
              <a:gd name="T23" fmla="*/ 29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5" h="123">
                <a:moveTo>
                  <a:pt x="52" y="0"/>
                </a:moveTo>
                <a:cubicBezTo>
                  <a:pt x="23" y="0"/>
                  <a:pt x="0" y="8"/>
                  <a:pt x="0" y="17"/>
                </a:cubicBezTo>
                <a:cubicBezTo>
                  <a:pt x="0" y="106"/>
                  <a:pt x="0" y="106"/>
                  <a:pt x="0" y="106"/>
                </a:cubicBezTo>
                <a:cubicBezTo>
                  <a:pt x="0" y="116"/>
                  <a:pt x="23" y="123"/>
                  <a:pt x="52" y="123"/>
                </a:cubicBezTo>
                <a:cubicBezTo>
                  <a:pt x="81" y="123"/>
                  <a:pt x="105" y="116"/>
                  <a:pt x="105" y="106"/>
                </a:cubicBezTo>
                <a:cubicBezTo>
                  <a:pt x="105" y="17"/>
                  <a:pt x="105" y="17"/>
                  <a:pt x="105" y="17"/>
                </a:cubicBezTo>
                <a:cubicBezTo>
                  <a:pt x="105" y="8"/>
                  <a:pt x="81" y="0"/>
                  <a:pt x="52" y="0"/>
                </a:cubicBezTo>
                <a:close/>
                <a:moveTo>
                  <a:pt x="52" y="29"/>
                </a:moveTo>
                <a:cubicBezTo>
                  <a:pt x="27" y="29"/>
                  <a:pt x="7" y="23"/>
                  <a:pt x="7" y="17"/>
                </a:cubicBezTo>
                <a:cubicBezTo>
                  <a:pt x="7" y="11"/>
                  <a:pt x="27" y="6"/>
                  <a:pt x="52" y="6"/>
                </a:cubicBezTo>
                <a:cubicBezTo>
                  <a:pt x="77" y="6"/>
                  <a:pt x="97" y="11"/>
                  <a:pt x="97" y="17"/>
                </a:cubicBezTo>
                <a:cubicBezTo>
                  <a:pt x="97" y="23"/>
                  <a:pt x="77" y="29"/>
                  <a:pt x="52" y="29"/>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51449" tIns="137178" rIns="51449" bIns="25725" rtlCol="0" anchor="ctr"/>
          <a:lstStyle/>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QL</a:t>
            </a:r>
          </a:p>
          <a:p>
            <a:pPr fontAlgn="base">
              <a:lnSpc>
                <a:spcPct val="90000"/>
              </a:lnSpc>
              <a:spcBef>
                <a:spcPct val="0"/>
              </a:spcBef>
              <a:spcAft>
                <a:spcPct val="0"/>
              </a:spcAft>
              <a:buSzPct val="90000"/>
            </a:pPr>
            <a:r>
              <a:rPr lang="en-US" sz="1400" kern="0" dirty="0">
                <a:gradFill>
                  <a:gsLst>
                    <a:gs pos="85000">
                      <a:srgbClr val="FFFFFF"/>
                    </a:gs>
                    <a:gs pos="0">
                      <a:srgbClr val="FFFFFF"/>
                    </a:gs>
                  </a:gsLst>
                  <a:lin ang="5400000" scaled="0"/>
                </a:gradFill>
                <a:ea typeface="Segoe UI" pitchFamily="34" charset="0"/>
                <a:cs typeface="Segoe UI" pitchFamily="34" charset="0"/>
              </a:rPr>
              <a:t>Server</a:t>
            </a:r>
          </a:p>
        </p:txBody>
      </p:sp>
    </p:spTree>
    <p:extLst>
      <p:ext uri="{BB962C8B-B14F-4D97-AF65-F5344CB8AC3E}">
        <p14:creationId xmlns:p14="http://schemas.microsoft.com/office/powerpoint/2010/main" val="7807726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animEffect transition="in" filter="fade">
                                      <p:cBhvr>
                                        <p:cTn id="9" dur="500"/>
                                        <p:tgtEl>
                                          <p:spTgt spid="6"/>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66"/>
                                        </p:tgtEl>
                                        <p:attrNameLst>
                                          <p:attrName>style.visibility</p:attrName>
                                        </p:attrNameLst>
                                      </p:cBhvr>
                                      <p:to>
                                        <p:strVal val="visible"/>
                                      </p:to>
                                    </p:set>
                                  </p:childTnLst>
                                </p:cTn>
                              </p:par>
                              <p:par>
                                <p:cTn id="14" presetID="10" presetClass="entr" presetSubtype="0" fill="hold" grpId="0" nodeType="withEffect">
                                  <p:stCondLst>
                                    <p:cond delay="0"/>
                                  </p:stCondLst>
                                  <p:childTnLst>
                                    <p:set>
                                      <p:cBhvr>
                                        <p:cTn id="15" dur="1" fill="hold">
                                          <p:stCondLst>
                                            <p:cond delay="0"/>
                                          </p:stCondLst>
                                        </p:cTn>
                                        <p:tgtEl>
                                          <p:spTgt spid="62"/>
                                        </p:tgtEl>
                                        <p:attrNameLst>
                                          <p:attrName>style.visibility</p:attrName>
                                        </p:attrNameLst>
                                      </p:cBhvr>
                                      <p:to>
                                        <p:strVal val="visible"/>
                                      </p:to>
                                    </p:set>
                                    <p:animEffect transition="in" filter="fade">
                                      <p:cBhvr>
                                        <p:cTn id="16" dur="500"/>
                                        <p:tgtEl>
                                          <p:spTgt spid="62"/>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51"/>
                                        </p:tgtEl>
                                        <p:attrNameLst>
                                          <p:attrName>style.visibility</p:attrName>
                                        </p:attrNameLst>
                                      </p:cBhvr>
                                      <p:to>
                                        <p:strVal val="visible"/>
                                      </p:to>
                                    </p:set>
                                    <p:animEffect transition="in" filter="fade">
                                      <p:cBhvr>
                                        <p:cTn id="24" dur="500"/>
                                        <p:tgtEl>
                                          <p:spTgt spid="51"/>
                                        </p:tgtEl>
                                      </p:cBhvr>
                                    </p:animEffect>
                                  </p:childTnLst>
                                </p:cTn>
                              </p:par>
                              <p:par>
                                <p:cTn id="25" presetID="10" presetClass="entr" presetSubtype="0" fill="hold" nodeType="withEffect">
                                  <p:stCondLst>
                                    <p:cond delay="0"/>
                                  </p:stCondLst>
                                  <p:childTnLst>
                                    <p:set>
                                      <p:cBhvr>
                                        <p:cTn id="26" dur="1" fill="hold">
                                          <p:stCondLst>
                                            <p:cond delay="0"/>
                                          </p:stCondLst>
                                        </p:cTn>
                                        <p:tgtEl>
                                          <p:spTgt spid="53"/>
                                        </p:tgtEl>
                                        <p:attrNameLst>
                                          <p:attrName>style.visibility</p:attrName>
                                        </p:attrNameLst>
                                      </p:cBhvr>
                                      <p:to>
                                        <p:strVal val="visible"/>
                                      </p:to>
                                    </p:set>
                                    <p:animEffect transition="in" filter="fade">
                                      <p:cBhvr>
                                        <p:cTn id="27" dur="500"/>
                                        <p:tgtEl>
                                          <p:spTgt spid="53"/>
                                        </p:tgtEl>
                                      </p:cBhvr>
                                    </p:animEffect>
                                  </p:childTnLst>
                                </p:cTn>
                              </p:par>
                              <p:par>
                                <p:cTn id="28" presetID="10" presetClass="entr" presetSubtype="0" fill="hold" nodeType="withEffect">
                                  <p:stCondLst>
                                    <p:cond delay="0"/>
                                  </p:stCondLst>
                                  <p:childTnLst>
                                    <p:set>
                                      <p:cBhvr>
                                        <p:cTn id="29" dur="1" fill="hold">
                                          <p:stCondLst>
                                            <p:cond delay="0"/>
                                          </p:stCondLst>
                                        </p:cTn>
                                        <p:tgtEl>
                                          <p:spTgt spid="54"/>
                                        </p:tgtEl>
                                        <p:attrNameLst>
                                          <p:attrName>style.visibility</p:attrName>
                                        </p:attrNameLst>
                                      </p:cBhvr>
                                      <p:to>
                                        <p:strVal val="visible"/>
                                      </p:to>
                                    </p:set>
                                    <p:animEffect transition="in" filter="fade">
                                      <p:cBhvr>
                                        <p:cTn id="30" dur="500"/>
                                        <p:tgtEl>
                                          <p:spTgt spid="54"/>
                                        </p:tgtEl>
                                      </p:cBhvr>
                                    </p:animEffect>
                                  </p:childTnLst>
                                </p:cTn>
                              </p:par>
                              <p:par>
                                <p:cTn id="31" presetID="10" presetClass="entr" presetSubtype="0" fill="hold" nodeType="withEffect">
                                  <p:stCondLst>
                                    <p:cond delay="0"/>
                                  </p:stCondLst>
                                  <p:childTnLst>
                                    <p:set>
                                      <p:cBhvr>
                                        <p:cTn id="32" dur="1" fill="hold">
                                          <p:stCondLst>
                                            <p:cond delay="0"/>
                                          </p:stCondLst>
                                        </p:cTn>
                                        <p:tgtEl>
                                          <p:spTgt spid="10"/>
                                        </p:tgtEl>
                                        <p:attrNameLst>
                                          <p:attrName>style.visibility</p:attrName>
                                        </p:attrNameLst>
                                      </p:cBhvr>
                                      <p:to>
                                        <p:strVal val="visible"/>
                                      </p:to>
                                    </p:set>
                                    <p:animEffect transition="in" filter="fade">
                                      <p:cBhvr>
                                        <p:cTn id="33"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51" grpId="0"/>
      <p:bldP spid="65" grpId="0" animBg="1"/>
      <p:bldP spid="66" grpId="0" animBg="1"/>
      <p:bldP spid="6" grpId="0"/>
      <p:bldP spid="6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smtClean="0"/>
              <a:t>Demo</a:t>
            </a:r>
            <a:endParaRPr lang="en-US" dirty="0"/>
          </a:p>
        </p:txBody>
      </p:sp>
      <p:sp>
        <p:nvSpPr>
          <p:cNvPr id="5" name="Text Placeholder 4"/>
          <p:cNvSpPr>
            <a:spLocks noGrp="1"/>
          </p:cNvSpPr>
          <p:nvPr>
            <p:ph type="body" sz="quarter" idx="10"/>
          </p:nvPr>
        </p:nvSpPr>
        <p:spPr/>
        <p:txBody>
          <a:bodyPr/>
          <a:lstStyle/>
          <a:p>
            <a:r>
              <a:rPr lang="en-US" dirty="0" smtClean="0"/>
              <a:t>Configuring Load Balancing and Availability Sets</a:t>
            </a:r>
            <a:endParaRPr lang="en-US" dirty="0"/>
          </a:p>
        </p:txBody>
      </p:sp>
    </p:spTree>
    <p:extLst>
      <p:ext uri="{BB962C8B-B14F-4D97-AF65-F5344CB8AC3E}">
        <p14:creationId xmlns:p14="http://schemas.microsoft.com/office/powerpoint/2010/main" val="2688377229"/>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4800" dirty="0"/>
              <a:t>Windows Azure Virtual Networks</a:t>
            </a:r>
          </a:p>
        </p:txBody>
      </p:sp>
    </p:spTree>
    <p:extLst>
      <p:ext uri="{BB962C8B-B14F-4D97-AF65-F5344CB8AC3E}">
        <p14:creationId xmlns:p14="http://schemas.microsoft.com/office/powerpoint/2010/main" val="2756348944"/>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571310"/>
          </a:xfrm>
        </p:spPr>
        <p:txBody>
          <a:bodyPr/>
          <a:lstStyle/>
          <a:p>
            <a:r>
              <a:rPr lang="en-US" dirty="0" err="1" smtClean="0"/>
              <a:t>IaaS</a:t>
            </a:r>
            <a:r>
              <a:rPr lang="en-US" dirty="0" smtClean="0"/>
              <a:t> Workloads – all about the app</a:t>
            </a:r>
            <a:endParaRPr lang="en-US" dirty="0"/>
          </a:p>
        </p:txBody>
      </p:sp>
      <p:sp>
        <p:nvSpPr>
          <p:cNvPr id="3" name="Text Placeholder 2"/>
          <p:cNvSpPr>
            <a:spLocks noGrp="1"/>
          </p:cNvSpPr>
          <p:nvPr>
            <p:ph type="body" sz="quarter" idx="10"/>
          </p:nvPr>
        </p:nvSpPr>
        <p:spPr>
          <a:xfrm>
            <a:off x="389436" y="1085851"/>
            <a:ext cx="8363938" cy="3469412"/>
          </a:xfrm>
        </p:spPr>
        <p:txBody>
          <a:bodyPr/>
          <a:lstStyle/>
          <a:p>
            <a:r>
              <a:rPr lang="en-US" dirty="0" smtClean="0">
                <a:solidFill>
                  <a:schemeClr val="accent2"/>
                </a:solidFill>
              </a:rPr>
              <a:t>Line of Business Applications</a:t>
            </a:r>
          </a:p>
          <a:p>
            <a:r>
              <a:rPr lang="en-US" sz="2100" dirty="0">
                <a:solidFill>
                  <a:schemeClr val="tx2"/>
                </a:solidFill>
                <a:latin typeface="Segoe UI" pitchFamily="34" charset="0"/>
                <a:ea typeface="Segoe UI" pitchFamily="34" charset="0"/>
                <a:cs typeface="Segoe UI" pitchFamily="34" charset="0"/>
              </a:rPr>
              <a:t>Custom Applications, CRM, CMS, ERP, Business Intelligence</a:t>
            </a:r>
          </a:p>
          <a:p>
            <a:r>
              <a:rPr lang="en-US" dirty="0" smtClean="0">
                <a:solidFill>
                  <a:schemeClr val="accent2"/>
                </a:solidFill>
                <a:cs typeface="Segoe UI Light" pitchFamily="34" charset="0"/>
              </a:rPr>
              <a:t>Application Infrastructure</a:t>
            </a:r>
            <a:br>
              <a:rPr lang="en-US" dirty="0" smtClean="0">
                <a:solidFill>
                  <a:schemeClr val="accent2"/>
                </a:solidFill>
                <a:cs typeface="Segoe UI Light" pitchFamily="34" charset="0"/>
              </a:rPr>
            </a:br>
            <a:r>
              <a:rPr lang="en-US" sz="2100" dirty="0">
                <a:solidFill>
                  <a:schemeClr val="tx2"/>
                </a:solidFill>
                <a:latin typeface="Segoe UI" pitchFamily="34" charset="0"/>
                <a:ea typeface="Segoe UI" pitchFamily="34" charset="0"/>
                <a:cs typeface="Segoe UI" pitchFamily="34" charset="0"/>
              </a:rPr>
              <a:t>File Servers, Databases, Identity, Source Control</a:t>
            </a:r>
            <a:endParaRPr lang="en-US" sz="2100" dirty="0">
              <a:solidFill>
                <a:schemeClr val="tx2"/>
              </a:solidFill>
              <a:ea typeface="Segoe UI" pitchFamily="34" charset="0"/>
              <a:cs typeface="Segoe UI Light" pitchFamily="34" charset="0"/>
            </a:endParaRPr>
          </a:p>
          <a:p>
            <a:r>
              <a:rPr lang="en-US" dirty="0" smtClean="0">
                <a:solidFill>
                  <a:schemeClr val="accent2"/>
                </a:solidFill>
              </a:rPr>
              <a:t>Developer, Test and Staging Environments </a:t>
            </a:r>
          </a:p>
          <a:p>
            <a:r>
              <a:rPr lang="en-US" sz="2100" dirty="0">
                <a:solidFill>
                  <a:schemeClr val="tx2"/>
                </a:solidFill>
                <a:latin typeface="Segoe UI" pitchFamily="34" charset="0"/>
                <a:ea typeface="Segoe UI" pitchFamily="34" charset="0"/>
                <a:cs typeface="Segoe UI" pitchFamily="34" charset="0"/>
              </a:rPr>
              <a:t>Quickly Provision and Un-provision Entire Environments</a:t>
            </a:r>
          </a:p>
          <a:p>
            <a:r>
              <a:rPr lang="en-US" dirty="0" smtClean="0">
                <a:solidFill>
                  <a:schemeClr val="accent2"/>
                </a:solidFill>
              </a:rPr>
              <a:t>Hybrid Applications</a:t>
            </a:r>
            <a:endParaRPr lang="en-US" dirty="0">
              <a:solidFill>
                <a:schemeClr val="accent2"/>
              </a:solidFill>
            </a:endParaRPr>
          </a:p>
          <a:p>
            <a:r>
              <a:rPr lang="en-US" sz="2100" dirty="0">
                <a:latin typeface="Segoe UI" pitchFamily="34" charset="0"/>
                <a:ea typeface="Segoe UI" pitchFamily="34" charset="0"/>
                <a:cs typeface="Segoe UI" pitchFamily="34" charset="0"/>
              </a:rPr>
              <a:t>Applications that span your data center and the cloud</a:t>
            </a:r>
          </a:p>
        </p:txBody>
      </p:sp>
      <p:sp>
        <p:nvSpPr>
          <p:cNvPr id="5" name="Freeform 84"/>
          <p:cNvSpPr>
            <a:spLocks noEditPoints="1"/>
          </p:cNvSpPr>
          <p:nvPr/>
        </p:nvSpPr>
        <p:spPr bwMode="black">
          <a:xfrm>
            <a:off x="6826758" y="2409858"/>
            <a:ext cx="1926616" cy="2303104"/>
          </a:xfrm>
          <a:custGeom>
            <a:avLst/>
            <a:gdLst>
              <a:gd name="T0" fmla="*/ 604 w 1838"/>
              <a:gd name="T1" fmla="*/ 253 h 2192"/>
              <a:gd name="T2" fmla="*/ 1159 w 1838"/>
              <a:gd name="T3" fmla="*/ 963 h 2192"/>
              <a:gd name="T4" fmla="*/ 1105 w 1838"/>
              <a:gd name="T5" fmla="*/ 573 h 2192"/>
              <a:gd name="T6" fmla="*/ 214 w 1838"/>
              <a:gd name="T7" fmla="*/ 0 h 2192"/>
              <a:gd name="T8" fmla="*/ 1159 w 1838"/>
              <a:gd name="T9" fmla="*/ 694 h 2192"/>
              <a:gd name="T10" fmla="*/ 1088 w 1838"/>
              <a:gd name="T11" fmla="*/ 764 h 2192"/>
              <a:gd name="T12" fmla="*/ 284 w 1838"/>
              <a:gd name="T13" fmla="*/ 198 h 2192"/>
              <a:gd name="T14" fmla="*/ 214 w 1838"/>
              <a:gd name="T15" fmla="*/ 128 h 2192"/>
              <a:gd name="T16" fmla="*/ 1443 w 1838"/>
              <a:gd name="T17" fmla="*/ 262 h 2192"/>
              <a:gd name="T18" fmla="*/ 1309 w 1838"/>
              <a:gd name="T19" fmla="*/ 1063 h 2192"/>
              <a:gd name="T20" fmla="*/ 903 w 1838"/>
              <a:gd name="T21" fmla="*/ 764 h 2192"/>
              <a:gd name="T22" fmla="*/ 639 w 1838"/>
              <a:gd name="T23" fmla="*/ 952 h 2192"/>
              <a:gd name="T24" fmla="*/ 704 w 1838"/>
              <a:gd name="T25" fmla="*/ 1683 h 2192"/>
              <a:gd name="T26" fmla="*/ 767 w 1838"/>
              <a:gd name="T27" fmla="*/ 1191 h 2192"/>
              <a:gd name="T28" fmla="*/ 1683 w 1838"/>
              <a:gd name="T29" fmla="*/ 390 h 2192"/>
              <a:gd name="T30" fmla="*/ 1443 w 1838"/>
              <a:gd name="T31" fmla="*/ 134 h 2192"/>
              <a:gd name="T32" fmla="*/ 960 w 1838"/>
              <a:gd name="T33" fmla="*/ 198 h 2192"/>
              <a:gd name="T34" fmla="*/ 704 w 1838"/>
              <a:gd name="T35" fmla="*/ 1555 h 2192"/>
              <a:gd name="T36" fmla="*/ 775 w 1838"/>
              <a:gd name="T37" fmla="*/ 1484 h 2192"/>
              <a:gd name="T38" fmla="*/ 704 w 1838"/>
              <a:gd name="T39" fmla="*/ 694 h 2192"/>
              <a:gd name="T40" fmla="*/ 1631 w 1838"/>
              <a:gd name="T41" fmla="*/ 128 h 2192"/>
              <a:gd name="T42" fmla="*/ 1560 w 1838"/>
              <a:gd name="T43" fmla="*/ 198 h 2192"/>
              <a:gd name="T44" fmla="*/ 1230 w 1838"/>
              <a:gd name="T45" fmla="*/ 198 h 2192"/>
              <a:gd name="T46" fmla="*/ 1159 w 1838"/>
              <a:gd name="T47" fmla="*/ 128 h 2192"/>
              <a:gd name="T48" fmla="*/ 1823 w 1838"/>
              <a:gd name="T49" fmla="*/ 1484 h 2192"/>
              <a:gd name="T50" fmla="*/ 1553 w 1838"/>
              <a:gd name="T51" fmla="*/ 1670 h 2192"/>
              <a:gd name="T52" fmla="*/ 1362 w 1838"/>
              <a:gd name="T53" fmla="*/ 1922 h 2192"/>
              <a:gd name="T54" fmla="*/ 1177 w 1838"/>
              <a:gd name="T55" fmla="*/ 2192 h 2192"/>
              <a:gd name="T56" fmla="*/ 1639 w 1838"/>
              <a:gd name="T57" fmla="*/ 2192 h 2192"/>
              <a:gd name="T58" fmla="*/ 1177 w 1838"/>
              <a:gd name="T59" fmla="*/ 2064 h 2192"/>
              <a:gd name="T60" fmla="*/ 1247 w 1838"/>
              <a:gd name="T61" fmla="*/ 1993 h 2192"/>
              <a:gd name="T62" fmla="*/ 1695 w 1838"/>
              <a:gd name="T63" fmla="*/ 1484 h 2192"/>
              <a:gd name="T64" fmla="*/ 1624 w 1838"/>
              <a:gd name="T65" fmla="*/ 1414 h 2192"/>
              <a:gd name="T66" fmla="*/ 1639 w 1838"/>
              <a:gd name="T67" fmla="*/ 1922 h 2192"/>
              <a:gd name="T68" fmla="*/ 1133 w 1838"/>
              <a:gd name="T69" fmla="*/ 1678 h 2192"/>
              <a:gd name="T70" fmla="*/ 1177 w 1838"/>
              <a:gd name="T71" fmla="*/ 1286 h 2192"/>
              <a:gd name="T72" fmla="*/ 807 w 1838"/>
              <a:gd name="T73" fmla="*/ 1823 h 2192"/>
              <a:gd name="T74" fmla="*/ 384 w 1838"/>
              <a:gd name="T75" fmla="*/ 1922 h 2192"/>
              <a:gd name="T76" fmla="*/ 412 w 1838"/>
              <a:gd name="T77" fmla="*/ 764 h 2192"/>
              <a:gd name="T78" fmla="*/ 157 w 1838"/>
              <a:gd name="T79" fmla="*/ 955 h 2192"/>
              <a:gd name="T80" fmla="*/ 199 w 1838"/>
              <a:gd name="T81" fmla="*/ 2192 h 2192"/>
              <a:gd name="T82" fmla="*/ 704 w 1838"/>
              <a:gd name="T83" fmla="*/ 2192 h 2192"/>
              <a:gd name="T84" fmla="*/ 1133 w 1838"/>
              <a:gd name="T85" fmla="*/ 1678 h 2192"/>
              <a:gd name="T86" fmla="*/ 1177 w 1838"/>
              <a:gd name="T87" fmla="*/ 1555 h 2192"/>
              <a:gd name="T88" fmla="*/ 199 w 1838"/>
              <a:gd name="T89" fmla="*/ 2064 h 2192"/>
              <a:gd name="T90" fmla="*/ 270 w 1838"/>
              <a:gd name="T91" fmla="*/ 1993 h 2192"/>
              <a:gd name="T92" fmla="*/ 143 w 1838"/>
              <a:gd name="T93" fmla="*/ 764 h 2192"/>
              <a:gd name="T94" fmla="*/ 214 w 1838"/>
              <a:gd name="T95" fmla="*/ 835 h 2192"/>
              <a:gd name="T96" fmla="*/ 704 w 1838"/>
              <a:gd name="T97" fmla="*/ 1922 h 2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8" h="2192">
                <a:moveTo>
                  <a:pt x="214" y="397"/>
                </a:moveTo>
                <a:cubicBezTo>
                  <a:pt x="304" y="397"/>
                  <a:pt x="381" y="336"/>
                  <a:pt x="405" y="253"/>
                </a:cubicBezTo>
                <a:cubicBezTo>
                  <a:pt x="604" y="253"/>
                  <a:pt x="604" y="253"/>
                  <a:pt x="604" y="253"/>
                </a:cubicBezTo>
                <a:cubicBezTo>
                  <a:pt x="998" y="647"/>
                  <a:pt x="998" y="647"/>
                  <a:pt x="998" y="647"/>
                </a:cubicBezTo>
                <a:cubicBezTo>
                  <a:pt x="974" y="680"/>
                  <a:pt x="960" y="720"/>
                  <a:pt x="960" y="764"/>
                </a:cubicBezTo>
                <a:cubicBezTo>
                  <a:pt x="960" y="874"/>
                  <a:pt x="1049" y="963"/>
                  <a:pt x="1159" y="963"/>
                </a:cubicBezTo>
                <a:cubicBezTo>
                  <a:pt x="1268" y="963"/>
                  <a:pt x="1358" y="874"/>
                  <a:pt x="1358" y="764"/>
                </a:cubicBezTo>
                <a:cubicBezTo>
                  <a:pt x="1358" y="655"/>
                  <a:pt x="1268" y="566"/>
                  <a:pt x="1159" y="566"/>
                </a:cubicBezTo>
                <a:cubicBezTo>
                  <a:pt x="1140" y="566"/>
                  <a:pt x="1122" y="568"/>
                  <a:pt x="1105" y="573"/>
                </a:cubicBezTo>
                <a:cubicBezTo>
                  <a:pt x="657" y="125"/>
                  <a:pt x="657" y="125"/>
                  <a:pt x="657" y="125"/>
                </a:cubicBezTo>
                <a:cubicBezTo>
                  <a:pt x="398" y="125"/>
                  <a:pt x="398" y="125"/>
                  <a:pt x="398" y="125"/>
                </a:cubicBezTo>
                <a:cubicBezTo>
                  <a:pt x="369" y="51"/>
                  <a:pt x="297" y="0"/>
                  <a:pt x="214" y="0"/>
                </a:cubicBezTo>
                <a:cubicBezTo>
                  <a:pt x="104" y="0"/>
                  <a:pt x="15" y="89"/>
                  <a:pt x="15" y="198"/>
                </a:cubicBezTo>
                <a:cubicBezTo>
                  <a:pt x="15" y="308"/>
                  <a:pt x="104" y="397"/>
                  <a:pt x="214" y="397"/>
                </a:cubicBezTo>
                <a:close/>
                <a:moveTo>
                  <a:pt x="1159" y="694"/>
                </a:moveTo>
                <a:cubicBezTo>
                  <a:pt x="1198" y="694"/>
                  <a:pt x="1230" y="725"/>
                  <a:pt x="1230" y="764"/>
                </a:cubicBezTo>
                <a:cubicBezTo>
                  <a:pt x="1230" y="803"/>
                  <a:pt x="1198" y="835"/>
                  <a:pt x="1159" y="835"/>
                </a:cubicBezTo>
                <a:cubicBezTo>
                  <a:pt x="1120" y="835"/>
                  <a:pt x="1088" y="803"/>
                  <a:pt x="1088" y="764"/>
                </a:cubicBezTo>
                <a:cubicBezTo>
                  <a:pt x="1088" y="725"/>
                  <a:pt x="1120" y="694"/>
                  <a:pt x="1159" y="694"/>
                </a:cubicBezTo>
                <a:close/>
                <a:moveTo>
                  <a:pt x="214" y="128"/>
                </a:moveTo>
                <a:cubicBezTo>
                  <a:pt x="253" y="128"/>
                  <a:pt x="284" y="159"/>
                  <a:pt x="284" y="198"/>
                </a:cubicBezTo>
                <a:cubicBezTo>
                  <a:pt x="284" y="237"/>
                  <a:pt x="253" y="269"/>
                  <a:pt x="214" y="269"/>
                </a:cubicBezTo>
                <a:cubicBezTo>
                  <a:pt x="175" y="269"/>
                  <a:pt x="143" y="237"/>
                  <a:pt x="143" y="198"/>
                </a:cubicBezTo>
                <a:cubicBezTo>
                  <a:pt x="143" y="159"/>
                  <a:pt x="175" y="128"/>
                  <a:pt x="214" y="128"/>
                </a:cubicBezTo>
                <a:close/>
                <a:moveTo>
                  <a:pt x="1159" y="397"/>
                </a:moveTo>
                <a:cubicBezTo>
                  <a:pt x="1246" y="397"/>
                  <a:pt x="1320" y="341"/>
                  <a:pt x="1347" y="262"/>
                </a:cubicBezTo>
                <a:cubicBezTo>
                  <a:pt x="1443" y="262"/>
                  <a:pt x="1443" y="262"/>
                  <a:pt x="1443" y="262"/>
                </a:cubicBezTo>
                <a:cubicBezTo>
                  <a:pt x="1461" y="317"/>
                  <a:pt x="1503" y="360"/>
                  <a:pt x="1555" y="382"/>
                </a:cubicBezTo>
                <a:cubicBezTo>
                  <a:pt x="1555" y="817"/>
                  <a:pt x="1555" y="817"/>
                  <a:pt x="1555" y="817"/>
                </a:cubicBezTo>
                <a:cubicBezTo>
                  <a:pt x="1309" y="1063"/>
                  <a:pt x="1309" y="1063"/>
                  <a:pt x="1309" y="1063"/>
                </a:cubicBezTo>
                <a:cubicBezTo>
                  <a:pt x="767" y="1063"/>
                  <a:pt x="767" y="1063"/>
                  <a:pt x="767" y="1063"/>
                </a:cubicBezTo>
                <a:cubicBezTo>
                  <a:pt x="767" y="953"/>
                  <a:pt x="767" y="953"/>
                  <a:pt x="767" y="953"/>
                </a:cubicBezTo>
                <a:cubicBezTo>
                  <a:pt x="846" y="927"/>
                  <a:pt x="903" y="852"/>
                  <a:pt x="903" y="764"/>
                </a:cubicBezTo>
                <a:cubicBezTo>
                  <a:pt x="903" y="655"/>
                  <a:pt x="814" y="566"/>
                  <a:pt x="704" y="566"/>
                </a:cubicBezTo>
                <a:cubicBezTo>
                  <a:pt x="595" y="566"/>
                  <a:pt x="506" y="655"/>
                  <a:pt x="506" y="764"/>
                </a:cubicBezTo>
                <a:cubicBezTo>
                  <a:pt x="506" y="851"/>
                  <a:pt x="561" y="925"/>
                  <a:pt x="639" y="952"/>
                </a:cubicBezTo>
                <a:cubicBezTo>
                  <a:pt x="639" y="1297"/>
                  <a:pt x="639" y="1297"/>
                  <a:pt x="639" y="1297"/>
                </a:cubicBezTo>
                <a:cubicBezTo>
                  <a:pt x="561" y="1324"/>
                  <a:pt x="506" y="1398"/>
                  <a:pt x="506" y="1484"/>
                </a:cubicBezTo>
                <a:cubicBezTo>
                  <a:pt x="506" y="1594"/>
                  <a:pt x="595" y="1683"/>
                  <a:pt x="704" y="1683"/>
                </a:cubicBezTo>
                <a:cubicBezTo>
                  <a:pt x="814" y="1683"/>
                  <a:pt x="903" y="1594"/>
                  <a:pt x="903" y="1484"/>
                </a:cubicBezTo>
                <a:cubicBezTo>
                  <a:pt x="903" y="1397"/>
                  <a:pt x="846" y="1322"/>
                  <a:pt x="767" y="1296"/>
                </a:cubicBezTo>
                <a:cubicBezTo>
                  <a:pt x="767" y="1191"/>
                  <a:pt x="767" y="1191"/>
                  <a:pt x="767" y="1191"/>
                </a:cubicBezTo>
                <a:cubicBezTo>
                  <a:pt x="1362" y="1191"/>
                  <a:pt x="1362" y="1191"/>
                  <a:pt x="1362" y="1191"/>
                </a:cubicBezTo>
                <a:cubicBezTo>
                  <a:pt x="1683" y="870"/>
                  <a:pt x="1683" y="870"/>
                  <a:pt x="1683" y="870"/>
                </a:cubicBezTo>
                <a:cubicBezTo>
                  <a:pt x="1683" y="390"/>
                  <a:pt x="1683" y="390"/>
                  <a:pt x="1683" y="390"/>
                </a:cubicBezTo>
                <a:cubicBezTo>
                  <a:pt x="1768" y="367"/>
                  <a:pt x="1830" y="290"/>
                  <a:pt x="1830" y="198"/>
                </a:cubicBezTo>
                <a:cubicBezTo>
                  <a:pt x="1830" y="89"/>
                  <a:pt x="1740" y="0"/>
                  <a:pt x="1631" y="0"/>
                </a:cubicBezTo>
                <a:cubicBezTo>
                  <a:pt x="1544" y="0"/>
                  <a:pt x="1469" y="56"/>
                  <a:pt x="1443" y="134"/>
                </a:cubicBezTo>
                <a:cubicBezTo>
                  <a:pt x="1347" y="134"/>
                  <a:pt x="1347" y="134"/>
                  <a:pt x="1347" y="134"/>
                </a:cubicBezTo>
                <a:cubicBezTo>
                  <a:pt x="1320" y="56"/>
                  <a:pt x="1246" y="0"/>
                  <a:pt x="1159" y="0"/>
                </a:cubicBezTo>
                <a:cubicBezTo>
                  <a:pt x="1049" y="0"/>
                  <a:pt x="960" y="89"/>
                  <a:pt x="960" y="198"/>
                </a:cubicBezTo>
                <a:cubicBezTo>
                  <a:pt x="960" y="308"/>
                  <a:pt x="1049" y="397"/>
                  <a:pt x="1159" y="397"/>
                </a:cubicBezTo>
                <a:close/>
                <a:moveTo>
                  <a:pt x="775" y="1484"/>
                </a:moveTo>
                <a:cubicBezTo>
                  <a:pt x="775" y="1523"/>
                  <a:pt x="743" y="1555"/>
                  <a:pt x="704" y="1555"/>
                </a:cubicBezTo>
                <a:cubicBezTo>
                  <a:pt x="665" y="1555"/>
                  <a:pt x="634" y="1523"/>
                  <a:pt x="634" y="1484"/>
                </a:cubicBezTo>
                <a:cubicBezTo>
                  <a:pt x="634" y="1445"/>
                  <a:pt x="665" y="1414"/>
                  <a:pt x="704" y="1414"/>
                </a:cubicBezTo>
                <a:cubicBezTo>
                  <a:pt x="743" y="1414"/>
                  <a:pt x="775" y="1445"/>
                  <a:pt x="775" y="1484"/>
                </a:cubicBezTo>
                <a:close/>
                <a:moveTo>
                  <a:pt x="704" y="835"/>
                </a:moveTo>
                <a:cubicBezTo>
                  <a:pt x="665" y="835"/>
                  <a:pt x="634" y="803"/>
                  <a:pt x="634" y="764"/>
                </a:cubicBezTo>
                <a:cubicBezTo>
                  <a:pt x="634" y="725"/>
                  <a:pt x="665" y="694"/>
                  <a:pt x="704" y="694"/>
                </a:cubicBezTo>
                <a:cubicBezTo>
                  <a:pt x="743" y="694"/>
                  <a:pt x="775" y="725"/>
                  <a:pt x="775" y="764"/>
                </a:cubicBezTo>
                <a:cubicBezTo>
                  <a:pt x="775" y="803"/>
                  <a:pt x="743" y="835"/>
                  <a:pt x="704" y="835"/>
                </a:cubicBezTo>
                <a:close/>
                <a:moveTo>
                  <a:pt x="1631" y="128"/>
                </a:moveTo>
                <a:cubicBezTo>
                  <a:pt x="1670" y="128"/>
                  <a:pt x="1702" y="159"/>
                  <a:pt x="1702" y="198"/>
                </a:cubicBezTo>
                <a:cubicBezTo>
                  <a:pt x="1702" y="237"/>
                  <a:pt x="1670" y="269"/>
                  <a:pt x="1631" y="269"/>
                </a:cubicBezTo>
                <a:cubicBezTo>
                  <a:pt x="1592" y="269"/>
                  <a:pt x="1560" y="237"/>
                  <a:pt x="1560" y="198"/>
                </a:cubicBezTo>
                <a:cubicBezTo>
                  <a:pt x="1560" y="159"/>
                  <a:pt x="1592" y="128"/>
                  <a:pt x="1631" y="128"/>
                </a:cubicBezTo>
                <a:close/>
                <a:moveTo>
                  <a:pt x="1159" y="128"/>
                </a:moveTo>
                <a:cubicBezTo>
                  <a:pt x="1198" y="128"/>
                  <a:pt x="1230" y="159"/>
                  <a:pt x="1230" y="198"/>
                </a:cubicBezTo>
                <a:cubicBezTo>
                  <a:pt x="1230" y="237"/>
                  <a:pt x="1198" y="269"/>
                  <a:pt x="1159" y="269"/>
                </a:cubicBezTo>
                <a:cubicBezTo>
                  <a:pt x="1120" y="269"/>
                  <a:pt x="1088" y="237"/>
                  <a:pt x="1088" y="198"/>
                </a:cubicBezTo>
                <a:cubicBezTo>
                  <a:pt x="1088" y="159"/>
                  <a:pt x="1120" y="128"/>
                  <a:pt x="1159" y="128"/>
                </a:cubicBezTo>
                <a:close/>
                <a:moveTo>
                  <a:pt x="1681" y="1799"/>
                </a:moveTo>
                <a:cubicBezTo>
                  <a:pt x="1681" y="1675"/>
                  <a:pt x="1681" y="1675"/>
                  <a:pt x="1681" y="1675"/>
                </a:cubicBezTo>
                <a:cubicBezTo>
                  <a:pt x="1763" y="1650"/>
                  <a:pt x="1823" y="1574"/>
                  <a:pt x="1823" y="1484"/>
                </a:cubicBezTo>
                <a:cubicBezTo>
                  <a:pt x="1823" y="1375"/>
                  <a:pt x="1734" y="1286"/>
                  <a:pt x="1624" y="1286"/>
                </a:cubicBezTo>
                <a:cubicBezTo>
                  <a:pt x="1514" y="1286"/>
                  <a:pt x="1425" y="1375"/>
                  <a:pt x="1425" y="1484"/>
                </a:cubicBezTo>
                <a:cubicBezTo>
                  <a:pt x="1425" y="1569"/>
                  <a:pt x="1478" y="1641"/>
                  <a:pt x="1553" y="1670"/>
                </a:cubicBezTo>
                <a:cubicBezTo>
                  <a:pt x="1553" y="1814"/>
                  <a:pt x="1553" y="1814"/>
                  <a:pt x="1553" y="1814"/>
                </a:cubicBezTo>
                <a:cubicBezTo>
                  <a:pt x="1507" y="1836"/>
                  <a:pt x="1472" y="1874"/>
                  <a:pt x="1453" y="1922"/>
                </a:cubicBezTo>
                <a:cubicBezTo>
                  <a:pt x="1362" y="1922"/>
                  <a:pt x="1362" y="1922"/>
                  <a:pt x="1362" y="1922"/>
                </a:cubicBezTo>
                <a:cubicBezTo>
                  <a:pt x="1333" y="1847"/>
                  <a:pt x="1261" y="1794"/>
                  <a:pt x="1177" y="1794"/>
                </a:cubicBezTo>
                <a:cubicBezTo>
                  <a:pt x="1067" y="1794"/>
                  <a:pt x="978" y="1883"/>
                  <a:pt x="978" y="1993"/>
                </a:cubicBezTo>
                <a:cubicBezTo>
                  <a:pt x="978" y="2103"/>
                  <a:pt x="1067" y="2192"/>
                  <a:pt x="1177" y="2192"/>
                </a:cubicBezTo>
                <a:cubicBezTo>
                  <a:pt x="1266" y="2192"/>
                  <a:pt x="1343" y="2132"/>
                  <a:pt x="1367" y="2050"/>
                </a:cubicBezTo>
                <a:cubicBezTo>
                  <a:pt x="1448" y="2050"/>
                  <a:pt x="1448" y="2050"/>
                  <a:pt x="1448" y="2050"/>
                </a:cubicBezTo>
                <a:cubicBezTo>
                  <a:pt x="1473" y="2132"/>
                  <a:pt x="1549" y="2192"/>
                  <a:pt x="1639" y="2192"/>
                </a:cubicBezTo>
                <a:cubicBezTo>
                  <a:pt x="1748" y="2192"/>
                  <a:pt x="1838" y="2103"/>
                  <a:pt x="1838" y="1993"/>
                </a:cubicBezTo>
                <a:cubicBezTo>
                  <a:pt x="1838" y="1898"/>
                  <a:pt x="1770" y="1818"/>
                  <a:pt x="1681" y="1799"/>
                </a:cubicBezTo>
                <a:close/>
                <a:moveTo>
                  <a:pt x="1177" y="2064"/>
                </a:moveTo>
                <a:cubicBezTo>
                  <a:pt x="1138" y="2064"/>
                  <a:pt x="1106" y="2032"/>
                  <a:pt x="1106" y="1993"/>
                </a:cubicBezTo>
                <a:cubicBezTo>
                  <a:pt x="1106" y="1954"/>
                  <a:pt x="1138" y="1922"/>
                  <a:pt x="1177" y="1922"/>
                </a:cubicBezTo>
                <a:cubicBezTo>
                  <a:pt x="1216" y="1922"/>
                  <a:pt x="1247" y="1954"/>
                  <a:pt x="1247" y="1993"/>
                </a:cubicBezTo>
                <a:cubicBezTo>
                  <a:pt x="1247" y="2032"/>
                  <a:pt x="1216" y="2064"/>
                  <a:pt x="1177" y="2064"/>
                </a:cubicBezTo>
                <a:close/>
                <a:moveTo>
                  <a:pt x="1624" y="1414"/>
                </a:moveTo>
                <a:cubicBezTo>
                  <a:pt x="1663" y="1414"/>
                  <a:pt x="1695" y="1445"/>
                  <a:pt x="1695" y="1484"/>
                </a:cubicBezTo>
                <a:cubicBezTo>
                  <a:pt x="1695" y="1523"/>
                  <a:pt x="1663" y="1555"/>
                  <a:pt x="1624" y="1555"/>
                </a:cubicBezTo>
                <a:cubicBezTo>
                  <a:pt x="1585" y="1555"/>
                  <a:pt x="1553" y="1523"/>
                  <a:pt x="1553" y="1484"/>
                </a:cubicBezTo>
                <a:cubicBezTo>
                  <a:pt x="1553" y="1445"/>
                  <a:pt x="1585" y="1414"/>
                  <a:pt x="1624" y="1414"/>
                </a:cubicBezTo>
                <a:close/>
                <a:moveTo>
                  <a:pt x="1639" y="2064"/>
                </a:moveTo>
                <a:cubicBezTo>
                  <a:pt x="1600" y="2064"/>
                  <a:pt x="1568" y="2032"/>
                  <a:pt x="1568" y="1993"/>
                </a:cubicBezTo>
                <a:cubicBezTo>
                  <a:pt x="1568" y="1954"/>
                  <a:pt x="1600" y="1922"/>
                  <a:pt x="1639" y="1922"/>
                </a:cubicBezTo>
                <a:cubicBezTo>
                  <a:pt x="1678" y="1922"/>
                  <a:pt x="1710" y="1954"/>
                  <a:pt x="1710" y="1993"/>
                </a:cubicBezTo>
                <a:cubicBezTo>
                  <a:pt x="1710" y="2032"/>
                  <a:pt x="1678" y="2064"/>
                  <a:pt x="1639" y="2064"/>
                </a:cubicBezTo>
                <a:close/>
                <a:moveTo>
                  <a:pt x="1133" y="1678"/>
                </a:moveTo>
                <a:cubicBezTo>
                  <a:pt x="1147" y="1681"/>
                  <a:pt x="1162" y="1683"/>
                  <a:pt x="1177" y="1683"/>
                </a:cubicBezTo>
                <a:cubicBezTo>
                  <a:pt x="1286" y="1683"/>
                  <a:pt x="1375" y="1594"/>
                  <a:pt x="1375" y="1484"/>
                </a:cubicBezTo>
                <a:cubicBezTo>
                  <a:pt x="1375" y="1375"/>
                  <a:pt x="1286" y="1286"/>
                  <a:pt x="1177" y="1286"/>
                </a:cubicBezTo>
                <a:cubicBezTo>
                  <a:pt x="1067" y="1286"/>
                  <a:pt x="978" y="1375"/>
                  <a:pt x="978" y="1484"/>
                </a:cubicBezTo>
                <a:cubicBezTo>
                  <a:pt x="978" y="1531"/>
                  <a:pt x="994" y="1575"/>
                  <a:pt x="1022" y="1609"/>
                </a:cubicBezTo>
                <a:cubicBezTo>
                  <a:pt x="807" y="1823"/>
                  <a:pt x="807" y="1823"/>
                  <a:pt x="807" y="1823"/>
                </a:cubicBezTo>
                <a:cubicBezTo>
                  <a:pt x="777" y="1805"/>
                  <a:pt x="742" y="1794"/>
                  <a:pt x="704" y="1794"/>
                </a:cubicBezTo>
                <a:cubicBezTo>
                  <a:pt x="620" y="1794"/>
                  <a:pt x="548" y="1847"/>
                  <a:pt x="519" y="1922"/>
                </a:cubicBezTo>
                <a:cubicBezTo>
                  <a:pt x="384" y="1922"/>
                  <a:pt x="384" y="1922"/>
                  <a:pt x="384" y="1922"/>
                </a:cubicBezTo>
                <a:cubicBezTo>
                  <a:pt x="366" y="1874"/>
                  <a:pt x="330" y="1836"/>
                  <a:pt x="285" y="1814"/>
                </a:cubicBezTo>
                <a:cubicBezTo>
                  <a:pt x="285" y="950"/>
                  <a:pt x="285" y="950"/>
                  <a:pt x="285" y="950"/>
                </a:cubicBezTo>
                <a:cubicBezTo>
                  <a:pt x="359" y="921"/>
                  <a:pt x="412" y="849"/>
                  <a:pt x="412" y="764"/>
                </a:cubicBezTo>
                <a:cubicBezTo>
                  <a:pt x="412" y="655"/>
                  <a:pt x="323" y="566"/>
                  <a:pt x="214" y="566"/>
                </a:cubicBezTo>
                <a:cubicBezTo>
                  <a:pt x="104" y="566"/>
                  <a:pt x="15" y="655"/>
                  <a:pt x="15" y="764"/>
                </a:cubicBezTo>
                <a:cubicBezTo>
                  <a:pt x="15" y="854"/>
                  <a:pt x="75" y="930"/>
                  <a:pt x="157" y="955"/>
                </a:cubicBezTo>
                <a:cubicBezTo>
                  <a:pt x="157" y="1799"/>
                  <a:pt x="157" y="1799"/>
                  <a:pt x="157" y="1799"/>
                </a:cubicBezTo>
                <a:cubicBezTo>
                  <a:pt x="67" y="1818"/>
                  <a:pt x="0" y="1898"/>
                  <a:pt x="0" y="1993"/>
                </a:cubicBezTo>
                <a:cubicBezTo>
                  <a:pt x="0" y="2103"/>
                  <a:pt x="89" y="2192"/>
                  <a:pt x="199" y="2192"/>
                </a:cubicBezTo>
                <a:cubicBezTo>
                  <a:pt x="289" y="2192"/>
                  <a:pt x="365" y="2132"/>
                  <a:pt x="389" y="2050"/>
                </a:cubicBezTo>
                <a:cubicBezTo>
                  <a:pt x="514" y="2050"/>
                  <a:pt x="514" y="2050"/>
                  <a:pt x="514" y="2050"/>
                </a:cubicBezTo>
                <a:cubicBezTo>
                  <a:pt x="538" y="2132"/>
                  <a:pt x="615" y="2192"/>
                  <a:pt x="704" y="2192"/>
                </a:cubicBezTo>
                <a:cubicBezTo>
                  <a:pt x="814" y="2192"/>
                  <a:pt x="903" y="2103"/>
                  <a:pt x="903" y="1993"/>
                </a:cubicBezTo>
                <a:cubicBezTo>
                  <a:pt x="903" y="1968"/>
                  <a:pt x="898" y="1944"/>
                  <a:pt x="890" y="1922"/>
                </a:cubicBezTo>
                <a:lnTo>
                  <a:pt x="1133" y="1678"/>
                </a:lnTo>
                <a:close/>
                <a:moveTo>
                  <a:pt x="1177" y="1414"/>
                </a:moveTo>
                <a:cubicBezTo>
                  <a:pt x="1216" y="1414"/>
                  <a:pt x="1247" y="1445"/>
                  <a:pt x="1247" y="1484"/>
                </a:cubicBezTo>
                <a:cubicBezTo>
                  <a:pt x="1247" y="1523"/>
                  <a:pt x="1216" y="1555"/>
                  <a:pt x="1177" y="1555"/>
                </a:cubicBezTo>
                <a:cubicBezTo>
                  <a:pt x="1138" y="1555"/>
                  <a:pt x="1106" y="1523"/>
                  <a:pt x="1106" y="1484"/>
                </a:cubicBezTo>
                <a:cubicBezTo>
                  <a:pt x="1106" y="1445"/>
                  <a:pt x="1138" y="1414"/>
                  <a:pt x="1177" y="1414"/>
                </a:cubicBezTo>
                <a:close/>
                <a:moveTo>
                  <a:pt x="199" y="2064"/>
                </a:moveTo>
                <a:cubicBezTo>
                  <a:pt x="160" y="2064"/>
                  <a:pt x="128" y="2032"/>
                  <a:pt x="128" y="1993"/>
                </a:cubicBezTo>
                <a:cubicBezTo>
                  <a:pt x="128" y="1954"/>
                  <a:pt x="160" y="1922"/>
                  <a:pt x="199" y="1922"/>
                </a:cubicBezTo>
                <a:cubicBezTo>
                  <a:pt x="238" y="1922"/>
                  <a:pt x="270" y="1954"/>
                  <a:pt x="270" y="1993"/>
                </a:cubicBezTo>
                <a:cubicBezTo>
                  <a:pt x="270" y="2032"/>
                  <a:pt x="238" y="2064"/>
                  <a:pt x="199" y="2064"/>
                </a:cubicBezTo>
                <a:close/>
                <a:moveTo>
                  <a:pt x="214" y="835"/>
                </a:moveTo>
                <a:cubicBezTo>
                  <a:pt x="175" y="835"/>
                  <a:pt x="143" y="803"/>
                  <a:pt x="143" y="764"/>
                </a:cubicBezTo>
                <a:cubicBezTo>
                  <a:pt x="143" y="725"/>
                  <a:pt x="175" y="694"/>
                  <a:pt x="214" y="694"/>
                </a:cubicBezTo>
                <a:cubicBezTo>
                  <a:pt x="253" y="694"/>
                  <a:pt x="284" y="725"/>
                  <a:pt x="284" y="764"/>
                </a:cubicBezTo>
                <a:cubicBezTo>
                  <a:pt x="284" y="803"/>
                  <a:pt x="253" y="835"/>
                  <a:pt x="214" y="835"/>
                </a:cubicBezTo>
                <a:close/>
                <a:moveTo>
                  <a:pt x="704" y="2064"/>
                </a:moveTo>
                <a:cubicBezTo>
                  <a:pt x="665" y="2064"/>
                  <a:pt x="634" y="2032"/>
                  <a:pt x="634" y="1993"/>
                </a:cubicBezTo>
                <a:cubicBezTo>
                  <a:pt x="634" y="1954"/>
                  <a:pt x="665" y="1922"/>
                  <a:pt x="704" y="1922"/>
                </a:cubicBezTo>
                <a:cubicBezTo>
                  <a:pt x="743" y="1922"/>
                  <a:pt x="775" y="1954"/>
                  <a:pt x="775" y="1993"/>
                </a:cubicBezTo>
                <a:cubicBezTo>
                  <a:pt x="775" y="2032"/>
                  <a:pt x="743" y="2064"/>
                  <a:pt x="704" y="2064"/>
                </a:cubicBez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7003310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500"/>
                                        <p:tgtEl>
                                          <p:spTgt spid="3">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xEl>
                                              <p:pRg st="1" end="1"/>
                                            </p:txEl>
                                          </p:spTgt>
                                        </p:tgtEl>
                                        <p:attrNameLst>
                                          <p:attrName>style.visibility</p:attrName>
                                        </p:attrNameLst>
                                      </p:cBhvr>
                                      <p:to>
                                        <p:strVal val="visible"/>
                                      </p:to>
                                    </p:set>
                                    <p:animEffect transition="in" filter="fade">
                                      <p:cBhvr>
                                        <p:cTn id="10" dur="500"/>
                                        <p:tgtEl>
                                          <p:spTgt spid="3">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animEffect transition="in" filter="fade">
                                      <p:cBhvr>
                                        <p:cTn id="15" dur="500"/>
                                        <p:tgtEl>
                                          <p:spTgt spid="3">
                                            <p:txEl>
                                              <p:pRg st="2" end="2"/>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3">
                                            <p:txEl>
                                              <p:pRg st="3" end="3"/>
                                            </p:txEl>
                                          </p:spTgt>
                                        </p:tgtEl>
                                        <p:attrNameLst>
                                          <p:attrName>style.visibility</p:attrName>
                                        </p:attrNameLst>
                                      </p:cBhvr>
                                      <p:to>
                                        <p:strVal val="visible"/>
                                      </p:to>
                                    </p:set>
                                    <p:animEffect transition="in" filter="fade">
                                      <p:cBhvr>
                                        <p:cTn id="20" dur="500"/>
                                        <p:tgtEl>
                                          <p:spTgt spid="3">
                                            <p:txEl>
                                              <p:pRg st="3" end="3"/>
                                            </p:txEl>
                                          </p:spTgt>
                                        </p:tgtEl>
                                      </p:cBhvr>
                                    </p:animEffect>
                                  </p:childTnLst>
                                </p:cTn>
                              </p:par>
                              <p:par>
                                <p:cTn id="21" presetID="10" presetClass="entr" presetSubtype="0" fill="hold" nodeType="with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animEffect transition="in" filter="fade">
                                      <p:cBhvr>
                                        <p:cTn id="23" dur="500"/>
                                        <p:tgtEl>
                                          <p:spTgt spid="3">
                                            <p:txEl>
                                              <p:pRg st="4" end="4"/>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3">
                                            <p:txEl>
                                              <p:pRg st="5" end="5"/>
                                            </p:txEl>
                                          </p:spTgt>
                                        </p:tgtEl>
                                        <p:attrNameLst>
                                          <p:attrName>style.visibility</p:attrName>
                                        </p:attrNameLst>
                                      </p:cBhvr>
                                      <p:to>
                                        <p:strVal val="visible"/>
                                      </p:to>
                                    </p:set>
                                    <p:animEffect transition="in" filter="fade">
                                      <p:cBhvr>
                                        <p:cTn id="28" dur="500"/>
                                        <p:tgtEl>
                                          <p:spTgt spid="3">
                                            <p:txEl>
                                              <p:pRg st="5" end="5"/>
                                            </p:txEl>
                                          </p:spTgt>
                                        </p:tgtEl>
                                      </p:cBhvr>
                                    </p:animEffect>
                                  </p:childTnLst>
                                </p:cTn>
                              </p:par>
                              <p:par>
                                <p:cTn id="29" presetID="10" presetClass="entr" presetSubtype="0" fill="hold" nodeType="with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animEffect transition="in" filter="fade">
                                      <p:cBhvr>
                                        <p:cTn id="31"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1"/>
            <a:ext cx="8363938" cy="467436"/>
          </a:xfrm>
        </p:spPr>
        <p:txBody>
          <a:bodyPr/>
          <a:lstStyle/>
          <a:p>
            <a:r>
              <a:rPr lang="en-US" sz="3400" dirty="0"/>
              <a:t>Cross-premise </a:t>
            </a:r>
            <a:r>
              <a:rPr lang="en-US" sz="3400" dirty="0">
                <a:solidFill>
                  <a:schemeClr val="accent2"/>
                </a:solidFill>
              </a:rPr>
              <a:t>Connectivity</a:t>
            </a:r>
          </a:p>
        </p:txBody>
      </p:sp>
      <p:sp>
        <p:nvSpPr>
          <p:cNvPr id="5" name="TextBox 4"/>
          <p:cNvSpPr txBox="1"/>
          <p:nvPr/>
        </p:nvSpPr>
        <p:spPr>
          <a:xfrm>
            <a:off x="6123193" y="4519139"/>
            <a:ext cx="2266006" cy="276999"/>
          </a:xfrm>
          <a:prstGeom prst="rect">
            <a:avLst/>
          </a:prstGeom>
          <a:noFill/>
        </p:spPr>
        <p:txBody>
          <a:bodyPr wrap="none" lIns="0" tIns="0" rIns="0" bIns="0" rtlCol="0">
            <a:spAutoFit/>
          </a:bodyPr>
          <a:lstStyle/>
          <a:p>
            <a:pPr algn="ctr"/>
            <a:r>
              <a:rPr lang="en-US" b="1" dirty="0" smtClean="0">
                <a:solidFill>
                  <a:srgbClr val="2D8FD1"/>
                </a:solidFill>
              </a:rPr>
              <a:t>IP-level connectivity </a:t>
            </a:r>
          </a:p>
        </p:txBody>
      </p:sp>
      <p:grpSp>
        <p:nvGrpSpPr>
          <p:cNvPr id="8" name="Group 7"/>
          <p:cNvGrpSpPr/>
          <p:nvPr/>
        </p:nvGrpSpPr>
        <p:grpSpPr>
          <a:xfrm>
            <a:off x="878635" y="888399"/>
            <a:ext cx="7618016" cy="3447155"/>
            <a:chOff x="1171208" y="1184524"/>
            <a:chExt cx="10154709" cy="4596206"/>
          </a:xfrm>
        </p:grpSpPr>
        <p:sp>
          <p:nvSpPr>
            <p:cNvPr id="63" name="Freeform 62"/>
            <p:cNvSpPr/>
            <p:nvPr/>
          </p:nvSpPr>
          <p:spPr>
            <a:xfrm rot="5400000">
              <a:off x="8500330" y="1685843"/>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F9933"/>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6" name="Freeform 55"/>
            <p:cNvSpPr/>
            <p:nvPr/>
          </p:nvSpPr>
          <p:spPr>
            <a:xfrm rot="5400000">
              <a:off x="2055100" y="1685843"/>
              <a:ext cx="1938355"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6">
                <a:lumMod val="40000"/>
                <a:lumOff val="60000"/>
              </a:schemeClr>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grpSp>
          <p:nvGrpSpPr>
            <p:cNvPr id="4" name="Group 3"/>
            <p:cNvGrpSpPr/>
            <p:nvPr/>
          </p:nvGrpSpPr>
          <p:grpSpPr>
            <a:xfrm>
              <a:off x="1171208" y="1184524"/>
              <a:ext cx="10154709" cy="4596206"/>
              <a:chOff x="1171208" y="1184524"/>
              <a:chExt cx="10154709" cy="4596206"/>
            </a:xfrm>
          </p:grpSpPr>
          <p:sp>
            <p:nvSpPr>
              <p:cNvPr id="43" name="Freeform 42"/>
              <p:cNvSpPr/>
              <p:nvPr/>
            </p:nvSpPr>
            <p:spPr>
              <a:xfrm rot="5400000">
                <a:off x="8500331" y="3578061"/>
                <a:ext cx="1868051"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rgbClr val="F18E3D"/>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45" name="Freeform 44"/>
              <p:cNvSpPr/>
              <p:nvPr/>
            </p:nvSpPr>
            <p:spPr>
              <a:xfrm rot="5400000">
                <a:off x="2081334" y="3571413"/>
                <a:ext cx="1881343" cy="2379388"/>
              </a:xfrm>
              <a:custGeom>
                <a:avLst/>
                <a:gdLst>
                  <a:gd name="connsiteX0" fmla="*/ 0 w 2459333"/>
                  <a:gd name="connsiteY0" fmla="*/ 0 h 658800"/>
                  <a:gd name="connsiteX1" fmla="*/ 2459333 w 2459333"/>
                  <a:gd name="connsiteY1" fmla="*/ 0 h 658800"/>
                  <a:gd name="connsiteX2" fmla="*/ 2459333 w 2459333"/>
                  <a:gd name="connsiteY2" fmla="*/ 658800 h 658800"/>
                  <a:gd name="connsiteX3" fmla="*/ 0 w 2459333"/>
                  <a:gd name="connsiteY3" fmla="*/ 658800 h 658800"/>
                  <a:gd name="connsiteX4" fmla="*/ 0 w 2459333"/>
                  <a:gd name="connsiteY4" fmla="*/ 0 h 6588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59333" h="658800">
                    <a:moveTo>
                      <a:pt x="0" y="0"/>
                    </a:moveTo>
                    <a:lnTo>
                      <a:pt x="2459333" y="0"/>
                    </a:lnTo>
                    <a:lnTo>
                      <a:pt x="2459333" y="658800"/>
                    </a:lnTo>
                    <a:lnTo>
                      <a:pt x="0" y="658800"/>
                    </a:lnTo>
                    <a:lnTo>
                      <a:pt x="0" y="0"/>
                    </a:lnTo>
                    <a:close/>
                  </a:path>
                </a:pathLst>
              </a:custGeom>
              <a:solidFill>
                <a:schemeClr val="accent2"/>
              </a:solidFill>
              <a:ln w="12700" cap="flat" cmpd="thickThin" algn="ctr">
                <a:gradFill>
                  <a:gsLst>
                    <a:gs pos="0">
                      <a:srgbClr val="FFFFFF">
                        <a:alpha val="0"/>
                      </a:srgbClr>
                    </a:gs>
                    <a:gs pos="50000">
                      <a:srgbClr val="FFFFFF"/>
                    </a:gs>
                    <a:gs pos="100000">
                      <a:srgbClr val="FFFFFF">
                        <a:alpha val="0"/>
                      </a:srgbClr>
                    </a:gs>
                  </a:gsLst>
                  <a:lin ang="0" scaled="0"/>
                </a:gradFill>
                <a:prstDash val="solid"/>
              </a:ln>
              <a:effectLst/>
            </p:spPr>
            <p:txBody>
              <a:bodyPr lIns="3046613" tIns="38082" rIns="76162" bIns="38082" rtlCol="0" anchor="ctr"/>
              <a:lstStyle/>
              <a:p>
                <a:pPr marL="287570" indent="-287570" defTabSz="571154">
                  <a:lnSpc>
                    <a:spcPct val="90000"/>
                  </a:lnSpc>
                  <a:spcBef>
                    <a:spcPct val="20000"/>
                  </a:spcBef>
                  <a:buSzPct val="90000"/>
                  <a:buBlip>
                    <a:blip r:embed="rId3"/>
                  </a:buBlip>
                </a:pPr>
                <a:endParaRPr lang="en-US" dirty="0">
                  <a:gradFill>
                    <a:gsLst>
                      <a:gs pos="0">
                        <a:prstClr val="white"/>
                      </a:gs>
                      <a:gs pos="86000">
                        <a:prstClr val="white"/>
                      </a:gs>
                    </a:gsLst>
                    <a:lin ang="5400000" scaled="0"/>
                  </a:gradFill>
                </a:endParaRPr>
              </a:p>
            </p:txBody>
          </p:sp>
          <p:sp>
            <p:nvSpPr>
              <p:cNvPr id="50" name="Freeform 49"/>
              <p:cNvSpPr/>
              <p:nvPr/>
            </p:nvSpPr>
            <p:spPr>
              <a:xfrm>
                <a:off x="1171208" y="2012550"/>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1"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27745"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40096" y="2219455"/>
                <a:ext cx="588528" cy="4791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3" name="Rectangle 52"/>
              <p:cNvSpPr/>
              <p:nvPr/>
            </p:nvSpPr>
            <p:spPr>
              <a:xfrm>
                <a:off x="4605155" y="2219455"/>
                <a:ext cx="3372363" cy="525240"/>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Data Synchronization</a:t>
                </a:r>
              </a:p>
              <a:p>
                <a:pPr algn="ctr" defTabSz="571249" fontAlgn="base">
                  <a:lnSpc>
                    <a:spcPct val="80000"/>
                  </a:lnSpc>
                </a:pPr>
                <a:r>
                  <a:rPr lang="en-US" sz="800" dirty="0">
                    <a:solidFill>
                      <a:srgbClr val="292929">
                        <a:lumMod val="50000"/>
                        <a:lumOff val="50000"/>
                      </a:srgbClr>
                    </a:solidFill>
                  </a:rPr>
                  <a:t>SQL Azure Data Sync</a:t>
                </a:r>
              </a:p>
            </p:txBody>
          </p:sp>
          <p:cxnSp>
            <p:nvCxnSpPr>
              <p:cNvPr id="54" name="Straight Connector 53"/>
              <p:cNvCxnSpPr/>
              <p:nvPr/>
            </p:nvCxnSpPr>
            <p:spPr>
              <a:xfrm>
                <a:off x="7084833" y="244300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nvCxnSpPr>
            <p:spPr>
              <a:xfrm flipH="1">
                <a:off x="4008556" y="244300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57" name="Freeform 56"/>
              <p:cNvSpPr/>
              <p:nvPr/>
            </p:nvSpPr>
            <p:spPr>
              <a:xfrm>
                <a:off x="1171208" y="2953844"/>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pic>
            <p:nvPicPr>
              <p:cNvPr id="58"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2739078"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9" name="Picture 4"/>
              <p:cNvPicPr>
                <a:picLocks noChangeAspect="1" noChangeArrowheads="1"/>
              </p:cNvPicPr>
              <p:nvPr/>
            </p:nvPicPr>
            <p:blipFill>
              <a:blip r:embed="rId5" cstate="print">
                <a:lum bright="70000" contrast="-70000"/>
                <a:extLst>
                  <a:ext uri="{28A0092B-C50C-407E-A947-70E740481C1C}">
                    <a14:useLocalDpi xmlns:a14="http://schemas.microsoft.com/office/drawing/2010/main" val="0"/>
                  </a:ext>
                </a:extLst>
              </a:blip>
              <a:srcRect/>
              <a:stretch>
                <a:fillRect/>
              </a:stretch>
            </p:blipFill>
            <p:spPr bwMode="auto">
              <a:xfrm>
                <a:off x="9151429" y="3125523"/>
                <a:ext cx="565856" cy="5394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 name="Rectangle 59"/>
              <p:cNvSpPr/>
              <p:nvPr/>
            </p:nvSpPr>
            <p:spPr>
              <a:xfrm>
                <a:off x="4605155" y="3144336"/>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Application-layer </a:t>
                </a:r>
              </a:p>
              <a:p>
                <a:pPr algn="ctr" defTabSz="571249" fontAlgn="base">
                  <a:lnSpc>
                    <a:spcPct val="80000"/>
                  </a:lnSpc>
                </a:pPr>
                <a:r>
                  <a:rPr lang="en-US" sz="1400" dirty="0">
                    <a:solidFill>
                      <a:srgbClr val="292929">
                        <a:lumMod val="50000"/>
                        <a:lumOff val="50000"/>
                      </a:srgbClr>
                    </a:solidFill>
                  </a:rPr>
                  <a:t>Connectivity &amp; Messaging </a:t>
                </a:r>
              </a:p>
              <a:p>
                <a:pPr algn="ctr" defTabSz="571249" fontAlgn="base">
                  <a:lnSpc>
                    <a:spcPct val="80000"/>
                  </a:lnSpc>
                </a:pPr>
                <a:r>
                  <a:rPr lang="en-US" sz="800" dirty="0">
                    <a:solidFill>
                      <a:srgbClr val="292929">
                        <a:lumMod val="50000"/>
                        <a:lumOff val="50000"/>
                      </a:srgbClr>
                    </a:solidFill>
                  </a:rPr>
                  <a:t>Service Bus</a:t>
                </a:r>
              </a:p>
            </p:txBody>
          </p:sp>
          <p:cxnSp>
            <p:nvCxnSpPr>
              <p:cNvPr id="61" name="Straight Connector 60"/>
              <p:cNvCxnSpPr/>
              <p:nvPr/>
            </p:nvCxnSpPr>
            <p:spPr>
              <a:xfrm>
                <a:off x="7084833" y="3399236"/>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4008556" y="3399236"/>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sp>
            <p:nvSpPr>
              <p:cNvPr id="69" name="Freeform 68"/>
              <p:cNvSpPr/>
              <p:nvPr/>
            </p:nvSpPr>
            <p:spPr>
              <a:xfrm>
                <a:off x="1171208" y="3903855"/>
                <a:ext cx="10154709" cy="866589"/>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70" name="Rectangle 69"/>
              <p:cNvSpPr/>
              <p:nvPr/>
            </p:nvSpPr>
            <p:spPr>
              <a:xfrm>
                <a:off x="4605155" y="4089262"/>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Machine-to-Machine Network Connectivity</a:t>
                </a:r>
                <a:r>
                  <a:rPr lang="en-US" sz="700" dirty="0">
                    <a:solidFill>
                      <a:srgbClr val="292929">
                        <a:lumMod val="50000"/>
                        <a:lumOff val="50000"/>
                      </a:srgbClr>
                    </a:solidFill>
                  </a:rPr>
                  <a:t/>
                </a:r>
                <a:br>
                  <a:rPr lang="en-US" sz="700" dirty="0">
                    <a:solidFill>
                      <a:srgbClr val="292929">
                        <a:lumMod val="50000"/>
                        <a:lumOff val="50000"/>
                      </a:srgbClr>
                    </a:solidFill>
                  </a:rPr>
                </a:br>
                <a:r>
                  <a:rPr lang="en-US" sz="800" dirty="0">
                    <a:solidFill>
                      <a:srgbClr val="292929">
                        <a:lumMod val="50000"/>
                        <a:lumOff val="50000"/>
                      </a:srgbClr>
                    </a:solidFill>
                  </a:rPr>
                  <a:t>Windows Azure Connect</a:t>
                </a:r>
                <a:endParaRPr lang="en-US" sz="1600" dirty="0">
                  <a:solidFill>
                    <a:srgbClr val="292929">
                      <a:lumMod val="50000"/>
                      <a:lumOff val="50000"/>
                    </a:srgbClr>
                  </a:solidFill>
                </a:endParaRPr>
              </a:p>
            </p:txBody>
          </p:sp>
          <p:cxnSp>
            <p:nvCxnSpPr>
              <p:cNvPr id="71" name="Straight Connector 70"/>
              <p:cNvCxnSpPr/>
              <p:nvPr/>
            </p:nvCxnSpPr>
            <p:spPr>
              <a:xfrm>
                <a:off x="7084833" y="4364832"/>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flipH="1">
                <a:off x="4008556" y="4364832"/>
                <a:ext cx="1483384" cy="0"/>
              </a:xfrm>
              <a:prstGeom prst="line">
                <a:avLst/>
              </a:prstGeom>
              <a:ln w="38100">
                <a:gradFill>
                  <a:gsLst>
                    <a:gs pos="0">
                      <a:srgbClr val="2D8FD1"/>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pic>
            <p:nvPicPr>
              <p:cNvPr id="6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151429" y="4054007"/>
                <a:ext cx="624673" cy="566283"/>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91"/>
              <p:cNvSpPr/>
              <p:nvPr/>
            </p:nvSpPr>
            <p:spPr>
              <a:xfrm>
                <a:off x="1171208" y="4835189"/>
                <a:ext cx="10154709" cy="866590"/>
              </a:xfrm>
              <a:custGeom>
                <a:avLst/>
                <a:gdLst>
                  <a:gd name="connsiteX0" fmla="*/ 0 w 9144000"/>
                  <a:gd name="connsiteY0" fmla="*/ 0 h 693000"/>
                  <a:gd name="connsiteX1" fmla="*/ 9144000 w 9144000"/>
                  <a:gd name="connsiteY1" fmla="*/ 0 h 693000"/>
                  <a:gd name="connsiteX2" fmla="*/ 9144000 w 9144000"/>
                  <a:gd name="connsiteY2" fmla="*/ 693000 h 693000"/>
                  <a:gd name="connsiteX3" fmla="*/ 0 w 9144000"/>
                  <a:gd name="connsiteY3" fmla="*/ 693000 h 693000"/>
                  <a:gd name="connsiteX4" fmla="*/ 0 w 9144000"/>
                  <a:gd name="connsiteY4" fmla="*/ 0 h 693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4000" h="693000">
                    <a:moveTo>
                      <a:pt x="0" y="0"/>
                    </a:moveTo>
                    <a:lnTo>
                      <a:pt x="9144000" y="0"/>
                    </a:lnTo>
                    <a:lnTo>
                      <a:pt x="9144000" y="693000"/>
                    </a:lnTo>
                    <a:lnTo>
                      <a:pt x="0" y="693000"/>
                    </a:lnTo>
                    <a:lnTo>
                      <a:pt x="0" y="0"/>
                    </a:lnTo>
                    <a:close/>
                  </a:path>
                </a:pathLst>
              </a:custGeom>
              <a:noFill/>
              <a:ln w="12700" cap="flat" cmpd="thickThin" algn="ctr">
                <a:solidFill>
                  <a:schemeClr val="bg1"/>
                </a:solidFill>
                <a:prstDash val="solid"/>
              </a:ln>
              <a:effectLst/>
            </p:spPr>
            <p:txBody>
              <a:bodyPr lIns="0" tIns="243797" rIns="91420" bIns="45711" rtlCol="0" anchor="ctr"/>
              <a:lstStyle/>
              <a:p>
                <a:pPr marL="285625" lvl="1" defTabSz="571249"/>
                <a:endParaRPr lang="en-US" sz="1200" dirty="0">
                  <a:solidFill>
                    <a:srgbClr val="FFFFFF"/>
                  </a:solidFill>
                </a:endParaRPr>
              </a:p>
            </p:txBody>
          </p:sp>
          <p:sp>
            <p:nvSpPr>
              <p:cNvPr id="93" name="Rectangle 92"/>
              <p:cNvSpPr/>
              <p:nvPr/>
            </p:nvSpPr>
            <p:spPr>
              <a:xfrm>
                <a:off x="4605155" y="5025683"/>
                <a:ext cx="3372363" cy="755047"/>
              </a:xfrm>
              <a:prstGeom prst="rect">
                <a:avLst/>
              </a:prstGeom>
            </p:spPr>
            <p:txBody>
              <a:bodyPr wrap="square" lIns="121893" tIns="60948" rIns="121893" bIns="60948">
                <a:spAutoFit/>
              </a:bodyPr>
              <a:lstStyle/>
              <a:p>
                <a:pPr algn="ctr" defTabSz="571249" fontAlgn="base">
                  <a:lnSpc>
                    <a:spcPct val="80000"/>
                  </a:lnSpc>
                </a:pPr>
                <a:r>
                  <a:rPr lang="en-US" sz="1400" dirty="0">
                    <a:solidFill>
                      <a:srgbClr val="292929">
                        <a:lumMod val="50000"/>
                        <a:lumOff val="50000"/>
                      </a:srgbClr>
                    </a:solidFill>
                  </a:rPr>
                  <a:t>Secure Site-to-Site </a:t>
                </a:r>
              </a:p>
              <a:p>
                <a:pPr algn="ctr" defTabSz="571249" fontAlgn="base">
                  <a:lnSpc>
                    <a:spcPct val="80000"/>
                  </a:lnSpc>
                </a:pPr>
                <a:r>
                  <a:rPr lang="en-US" sz="1400" dirty="0">
                    <a:solidFill>
                      <a:srgbClr val="292929">
                        <a:lumMod val="50000"/>
                        <a:lumOff val="50000"/>
                      </a:srgbClr>
                    </a:solidFill>
                  </a:rPr>
                  <a:t>Network Connectivity</a:t>
                </a:r>
              </a:p>
              <a:p>
                <a:pPr algn="ctr" defTabSz="571249" fontAlgn="base">
                  <a:lnSpc>
                    <a:spcPct val="80000"/>
                  </a:lnSpc>
                </a:pPr>
                <a:r>
                  <a:rPr lang="en-US" sz="800" dirty="0">
                    <a:solidFill>
                      <a:srgbClr val="292929">
                        <a:lumMod val="50000"/>
                        <a:lumOff val="50000"/>
                      </a:srgbClr>
                    </a:solidFill>
                  </a:rPr>
                  <a:t>Windows Azure Virtual Network</a:t>
                </a:r>
              </a:p>
            </p:txBody>
          </p:sp>
          <p:cxnSp>
            <p:nvCxnSpPr>
              <p:cNvPr id="94" name="Straight Connector 93"/>
              <p:cNvCxnSpPr/>
              <p:nvPr/>
            </p:nvCxnSpPr>
            <p:spPr>
              <a:xfrm>
                <a:off x="7101596" y="5317334"/>
                <a:ext cx="1418672" cy="0"/>
              </a:xfrm>
              <a:prstGeom prst="line">
                <a:avLst/>
              </a:prstGeom>
              <a:ln w="38100">
                <a:gradFill>
                  <a:gsLst>
                    <a:gs pos="0">
                      <a:srgbClr val="FF0000"/>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flipH="1">
                <a:off x="4025319" y="5317334"/>
                <a:ext cx="1483384" cy="0"/>
              </a:xfrm>
              <a:prstGeom prst="line">
                <a:avLst/>
              </a:prstGeom>
              <a:ln w="38100">
                <a:gradFill>
                  <a:gsLst>
                    <a:gs pos="0">
                      <a:schemeClr val="accent6"/>
                    </a:gs>
                    <a:gs pos="100000">
                      <a:schemeClr val="accent2">
                        <a:alpha val="0"/>
                      </a:schemeClr>
                    </a:gs>
                  </a:gsLst>
                  <a:lin ang="10800000" scaled="0"/>
                </a:gradFill>
                <a:tailEnd type="oval"/>
              </a:ln>
            </p:spPr>
            <p:style>
              <a:lnRef idx="1">
                <a:schemeClr val="accent1"/>
              </a:lnRef>
              <a:fillRef idx="0">
                <a:schemeClr val="accent1"/>
              </a:fillRef>
              <a:effectRef idx="0">
                <a:schemeClr val="accent1"/>
              </a:effectRef>
              <a:fontRef idx="minor">
                <a:schemeClr val="tx1"/>
              </a:fontRef>
            </p:style>
          </p:cxnSp>
          <p:grpSp>
            <p:nvGrpSpPr>
              <p:cNvPr id="75" name="Group 74"/>
              <p:cNvGrpSpPr/>
              <p:nvPr/>
            </p:nvGrpSpPr>
            <p:grpSpPr>
              <a:xfrm>
                <a:off x="8906807" y="4968438"/>
                <a:ext cx="1055105" cy="600089"/>
                <a:chOff x="2601582" y="2848856"/>
                <a:chExt cx="1266456" cy="720107"/>
              </a:xfrm>
            </p:grpSpPr>
            <p:grpSp>
              <p:nvGrpSpPr>
                <p:cNvPr id="85" name="Group 84"/>
                <p:cNvGrpSpPr/>
                <p:nvPr/>
              </p:nvGrpSpPr>
              <p:grpSpPr>
                <a:xfrm>
                  <a:off x="2601582" y="2848856"/>
                  <a:ext cx="1266456" cy="720107"/>
                  <a:chOff x="2601582" y="2848856"/>
                  <a:chExt cx="1266456" cy="720107"/>
                </a:xfrm>
              </p:grpSpPr>
              <p:pic>
                <p:nvPicPr>
                  <p:cNvPr id="8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89"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86" name="Picture 85"/>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87" name="Picture 86"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sp>
            <p:nvSpPr>
              <p:cNvPr id="7" name="Rectangle 6"/>
              <p:cNvSpPr/>
              <p:nvPr/>
            </p:nvSpPr>
            <p:spPr bwMode="auto">
              <a:xfrm>
                <a:off x="1949963" y="1186132"/>
                <a:ext cx="2194560" cy="612648"/>
              </a:xfrm>
              <a:prstGeom prst="rect">
                <a:avLst/>
              </a:prstGeom>
              <a:solidFill>
                <a:srgbClr val="00206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CLOUD</a:t>
                </a:r>
              </a:p>
            </p:txBody>
          </p:sp>
          <p:sp>
            <p:nvSpPr>
              <p:cNvPr id="96" name="Rectangle 95"/>
              <p:cNvSpPr/>
              <p:nvPr/>
            </p:nvSpPr>
            <p:spPr bwMode="auto">
              <a:xfrm>
                <a:off x="8337080" y="1184524"/>
                <a:ext cx="2194560" cy="612648"/>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r>
                  <a:rPr lang="en-US" sz="1500" dirty="0">
                    <a:solidFill>
                      <a:srgbClr val="FFFFFF">
                        <a:alpha val="99000"/>
                      </a:srgbClr>
                    </a:solidFill>
                  </a:rPr>
                  <a:t>ENTERPRISE</a:t>
                </a:r>
                <a:endParaRPr lang="en-US" sz="1500" dirty="0">
                  <a:gradFill>
                    <a:gsLst>
                      <a:gs pos="0">
                        <a:srgbClr val="FFFFFF"/>
                      </a:gs>
                      <a:gs pos="100000">
                        <a:srgbClr val="FFFFFF"/>
                      </a:gs>
                    </a:gsLst>
                    <a:lin ang="5400000" scaled="0"/>
                  </a:gradFill>
                </a:endParaRPr>
              </a:p>
            </p:txBody>
          </p:sp>
          <p:pic>
            <p:nvPicPr>
              <p:cNvPr id="97"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91813" y="3891887"/>
                <a:ext cx="841094" cy="579797"/>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34853" y="4133055"/>
                <a:ext cx="624673" cy="566283"/>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 descr="C:\Users\chrisw\Desktop\Cloud Services 3.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2364517" y="4822760"/>
                <a:ext cx="841094" cy="579797"/>
              </a:xfrm>
              <a:prstGeom prst="rect">
                <a:avLst/>
              </a:prstGeom>
              <a:noFill/>
              <a:extLst>
                <a:ext uri="{909E8E84-426E-40DD-AFC4-6F175D3DCCD1}">
                  <a14:hiddenFill xmlns:a14="http://schemas.microsoft.com/office/drawing/2010/main">
                    <a:solidFill>
                      <a:srgbClr val="FFFFFF"/>
                    </a:solidFill>
                  </a14:hiddenFill>
                </a:ext>
              </a:extLst>
            </p:spPr>
          </p:pic>
          <p:grpSp>
            <p:nvGrpSpPr>
              <p:cNvPr id="100" name="Group 99"/>
              <p:cNvGrpSpPr/>
              <p:nvPr/>
            </p:nvGrpSpPr>
            <p:grpSpPr>
              <a:xfrm>
                <a:off x="2678058" y="4957169"/>
                <a:ext cx="1055105" cy="600089"/>
                <a:chOff x="2601582" y="2848856"/>
                <a:chExt cx="1266456" cy="720107"/>
              </a:xfrm>
            </p:grpSpPr>
            <p:grpSp>
              <p:nvGrpSpPr>
                <p:cNvPr id="101" name="Group 100"/>
                <p:cNvGrpSpPr/>
                <p:nvPr/>
              </p:nvGrpSpPr>
              <p:grpSpPr>
                <a:xfrm>
                  <a:off x="2601582" y="2848856"/>
                  <a:ext cx="1266456" cy="720107"/>
                  <a:chOff x="2601582" y="2848856"/>
                  <a:chExt cx="1266456" cy="720107"/>
                </a:xfrm>
              </p:grpSpPr>
              <p:pic>
                <p:nvPicPr>
                  <p:cNvPr id="104"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601582" y="2848856"/>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54815" y="2862378"/>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2457" y="2875901"/>
                    <a:ext cx="749803" cy="67954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3" descr="C:\Users\adi\Desktop\DVD_ART36\Artwork_Imagery\Icons - Illustrations\_ SUPER VISTA STYLE\server.png"/>
                  <p:cNvPicPr>
                    <a:picLocks noChangeAspect="1" noChangeArrowheads="1"/>
                  </p:cNvPicPr>
                  <p:nvPr/>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118235" y="2889423"/>
                    <a:ext cx="749803" cy="679540"/>
                  </a:xfrm>
                  <a:prstGeom prst="rect">
                    <a:avLst/>
                  </a:prstGeom>
                  <a:noFill/>
                  <a:extLst>
                    <a:ext uri="{909E8E84-426E-40DD-AFC4-6F175D3DCCD1}">
                      <a14:hiddenFill xmlns:a14="http://schemas.microsoft.com/office/drawing/2010/main">
                        <a:solidFill>
                          <a:srgbClr val="FFFFFF"/>
                        </a:solidFill>
                      </a14:hiddenFill>
                    </a:ext>
                  </a:extLst>
                </p:spPr>
              </p:pic>
            </p:grpSp>
            <p:pic>
              <p:nvPicPr>
                <p:cNvPr id="102" name="Picture 101"/>
                <p:cNvPicPr>
                  <a:picLocks noChangeAspect="1"/>
                </p:cNvPicPr>
                <p:nvPr/>
              </p:nvPicPr>
              <p:blipFill>
                <a:blip r:embed="rId7"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3256597" y="3021921"/>
                  <a:ext cx="409773" cy="460461"/>
                </a:xfrm>
                <a:prstGeom prst="rect">
                  <a:avLst/>
                </a:prstGeom>
              </p:spPr>
            </p:pic>
            <p:pic>
              <p:nvPicPr>
                <p:cNvPr id="103" name="Picture 102" descr="app icon.png"/>
                <p:cNvPicPr>
                  <a:picLocks noChangeAspect="1"/>
                </p:cNvPicPr>
                <p:nvPr/>
              </p:nvPicPr>
              <p:blipFill>
                <a:blip r:embed="rId8" cstate="print">
                  <a:duotone>
                    <a:schemeClr val="bg2">
                      <a:shade val="45000"/>
                      <a:satMod val="135000"/>
                    </a:schemeClr>
                    <a:prstClr val="white"/>
                  </a:duotone>
                </a:blip>
                <a:stretch>
                  <a:fillRect/>
                </a:stretch>
              </p:blipFill>
              <p:spPr>
                <a:xfrm>
                  <a:off x="2894012" y="3127461"/>
                  <a:ext cx="253762" cy="301539"/>
                </a:xfrm>
                <a:prstGeom prst="rect">
                  <a:avLst/>
                </a:prstGeom>
              </p:spPr>
            </p:pic>
          </p:grpSp>
        </p:grpSp>
      </p:grpSp>
      <p:sp>
        <p:nvSpPr>
          <p:cNvPr id="3" name="Rounded Rectangle 2"/>
          <p:cNvSpPr/>
          <p:nvPr/>
        </p:nvSpPr>
        <p:spPr bwMode="auto">
          <a:xfrm>
            <a:off x="818866" y="2865331"/>
            <a:ext cx="7429500" cy="1624127"/>
          </a:xfrm>
          <a:prstGeom prst="roundRect">
            <a:avLst/>
          </a:prstGeom>
          <a:noFill/>
          <a:ln>
            <a:solidFill>
              <a:srgbClr val="2D8FD1"/>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8568" tIns="34285" rIns="68568" bIns="34285" numCol="1" rtlCol="0" anchor="ctr" anchorCtr="0" compatLnSpc="1">
            <a:prstTxWarp prst="textNoShape">
              <a:avLst/>
            </a:prstTxWarp>
          </a:bodyPr>
          <a:lstStyle/>
          <a:p>
            <a:pPr algn="ctr" defTabSz="571084"/>
            <a:endParaRPr lang="en-US" sz="11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0776275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21" presetClass="entr" presetSubtype="1" fill="hold" grpId="0" nodeType="afterEffect">
                                  <p:stCondLst>
                                    <p:cond delay="0"/>
                                  </p:stCondLst>
                                  <p:childTnLst>
                                    <p:set>
                                      <p:cBhvr>
                                        <p:cTn id="10" dur="1" fill="hold">
                                          <p:stCondLst>
                                            <p:cond delay="0"/>
                                          </p:stCondLst>
                                        </p:cTn>
                                        <p:tgtEl>
                                          <p:spTgt spid="3"/>
                                        </p:tgtEl>
                                        <p:attrNameLst>
                                          <p:attrName>style.visibility</p:attrName>
                                        </p:attrNameLst>
                                      </p:cBhvr>
                                      <p:to>
                                        <p:strVal val="visible"/>
                                      </p:to>
                                    </p:set>
                                    <p:animEffect transition="in" filter="wheel(1)">
                                      <p:cBhvr>
                                        <p:cTn id="11" dur="2000"/>
                                        <p:tgtEl>
                                          <p:spTgt spid="3"/>
                                        </p:tgtEl>
                                      </p:cBhvr>
                                    </p:animEffect>
                                  </p:childTnLst>
                                </p:cTn>
                              </p:par>
                            </p:childTnLst>
                          </p:cTn>
                        </p:par>
                        <p:par>
                          <p:cTn id="12" fill="hold">
                            <p:stCondLst>
                              <p:cond delay="2500"/>
                            </p:stCondLst>
                            <p:childTnLst>
                              <p:par>
                                <p:cTn id="13" presetID="42" presetClass="entr" presetSubtype="0" fill="hold" grpId="0" nodeType="after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1000"/>
                                        <p:tgtEl>
                                          <p:spTgt spid="5"/>
                                        </p:tgtEl>
                                      </p:cBhvr>
                                    </p:animEffect>
                                    <p:anim calcmode="lin" valueType="num">
                                      <p:cBhvr>
                                        <p:cTn id="16" dur="1000" fill="hold"/>
                                        <p:tgtEl>
                                          <p:spTgt spid="5"/>
                                        </p:tgtEl>
                                        <p:attrNameLst>
                                          <p:attrName>ppt_x</p:attrName>
                                        </p:attrNameLst>
                                      </p:cBhvr>
                                      <p:tavLst>
                                        <p:tav tm="0">
                                          <p:val>
                                            <p:strVal val="#ppt_x"/>
                                          </p:val>
                                        </p:tav>
                                        <p:tav tm="100000">
                                          <p:val>
                                            <p:strVal val="#ppt_x"/>
                                          </p:val>
                                        </p:tav>
                                      </p:tavLst>
                                    </p:anim>
                                    <p:anim calcmode="lin" valueType="num">
                                      <p:cBhvr>
                                        <p:cTn id="17"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3"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Rectangle 73"/>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1" tIns="34286" rIns="68544" bIns="68571" numCol="1" spcCol="0" rtlCol="0" anchor="b" anchorCtr="0" compatLnSpc="1">
            <a:prstTxWarp prst="textNoShape">
              <a:avLst/>
            </a:prstTxWarp>
          </a:bodyPr>
          <a:lstStyle/>
          <a:p>
            <a:pPr algn="ctr" defTabSz="685261" fontAlgn="base">
              <a:spcBef>
                <a:spcPts val="900"/>
              </a:spcBef>
              <a:spcAft>
                <a:spcPct val="0"/>
              </a:spcAft>
            </a:pPr>
            <a:r>
              <a:rPr lang="en-US" sz="2400" dirty="0">
                <a:ln>
                  <a:solidFill>
                    <a:schemeClr val="bg1">
                      <a:alpha val="0"/>
                    </a:schemeClr>
                  </a:solidFill>
                </a:ln>
                <a:solidFill>
                  <a:srgbClr val="595959"/>
                </a:solidFill>
                <a:latin typeface="Segoe UI Light" pitchFamily="34" charset="0"/>
              </a:rPr>
              <a:t>Corpnet</a:t>
            </a:r>
          </a:p>
        </p:txBody>
      </p:sp>
      <p:sp>
        <p:nvSpPr>
          <p:cNvPr id="75" name="Oval 74"/>
          <p:cNvSpPr/>
          <p:nvPr>
            <p:custDataLst>
              <p:tags r:id="rId2"/>
            </p:custDataLst>
          </p:nvPr>
        </p:nvSpPr>
        <p:spPr bwMode="auto">
          <a:xfrm>
            <a:off x="5753359"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solidFill>
                <a:srgbClr val="595959"/>
              </a:solidFill>
            </a:endParaRPr>
          </a:p>
        </p:txBody>
      </p:sp>
      <p:grpSp>
        <p:nvGrpSpPr>
          <p:cNvPr id="5" name="Group 4"/>
          <p:cNvGrpSpPr/>
          <p:nvPr/>
        </p:nvGrpSpPr>
        <p:grpSpPr>
          <a:xfrm>
            <a:off x="5838172" y="1136704"/>
            <a:ext cx="2276815" cy="1525628"/>
            <a:chOff x="7479592" y="1494853"/>
            <a:chExt cx="3649895" cy="2446325"/>
          </a:xfrm>
          <a:solidFill>
            <a:schemeClr val="accent6">
              <a:lumMod val="20000"/>
              <a:lumOff val="80000"/>
            </a:schemeClr>
          </a:solidFill>
        </p:grpSpPr>
        <p:sp>
          <p:nvSpPr>
            <p:cNvPr id="77"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endParaRPr lang="en-US" sz="1200" dirty="0"/>
            </a:p>
          </p:txBody>
        </p:sp>
        <p:sp>
          <p:nvSpPr>
            <p:cNvPr id="78" name="Rectangle 77"/>
            <p:cNvSpPr/>
            <p:nvPr/>
          </p:nvSpPr>
          <p:spPr>
            <a:xfrm>
              <a:off x="8165814" y="1990103"/>
              <a:ext cx="2411946" cy="518191"/>
            </a:xfrm>
            <a:prstGeom prst="rect">
              <a:avLst/>
            </a:prstGeom>
            <a:noFill/>
          </p:spPr>
          <p:txBody>
            <a:bodyPr wrap="none">
              <a:spAutoFit/>
            </a:bodyPr>
            <a:lstStyle/>
            <a:p>
              <a:pPr algn="ctr" defTabSz="685261" fontAlgn="base">
                <a:spcBef>
                  <a:spcPts val="900"/>
                </a:spcBef>
                <a:spcAft>
                  <a:spcPct val="0"/>
                </a:spcAft>
              </a:pPr>
              <a:r>
                <a:rPr lang="en-US" sz="1500" dirty="0">
                  <a:ln>
                    <a:solidFill>
                      <a:srgbClr val="FFFFFF">
                        <a:alpha val="0"/>
                      </a:srgbClr>
                    </a:solidFill>
                  </a:ln>
                  <a:solidFill>
                    <a:schemeClr val="bg1">
                      <a:alpha val="99000"/>
                    </a:schemeClr>
                  </a:solidFill>
                </a:rPr>
                <a:t>Windows Azure</a:t>
              </a:r>
            </a:p>
          </p:txBody>
        </p:sp>
      </p:grpSp>
      <p:sp>
        <p:nvSpPr>
          <p:cNvPr id="2" name="Title 1"/>
          <p:cNvSpPr>
            <a:spLocks noGrp="1"/>
          </p:cNvSpPr>
          <p:nvPr>
            <p:ph type="title"/>
          </p:nvPr>
        </p:nvSpPr>
        <p:spPr>
          <a:xfrm>
            <a:off x="389436" y="171450"/>
            <a:ext cx="8363938" cy="498598"/>
          </a:xfrm>
        </p:spPr>
        <p:txBody>
          <a:bodyPr/>
          <a:lstStyle/>
          <a:p>
            <a:r>
              <a:rPr lang="en-IN" sz="3600" dirty="0"/>
              <a:t>Windows Azure Virtual Network</a:t>
            </a:r>
            <a:endParaRPr lang="en-US" sz="3600" dirty="0"/>
          </a:p>
        </p:txBody>
      </p:sp>
      <p:sp>
        <p:nvSpPr>
          <p:cNvPr id="219" name="Content Placeholder 218"/>
          <p:cNvSpPr>
            <a:spLocks noGrp="1"/>
          </p:cNvSpPr>
          <p:nvPr>
            <p:ph type="body" sz="quarter" idx="10"/>
          </p:nvPr>
        </p:nvSpPr>
        <p:spPr>
          <a:xfrm>
            <a:off x="389436" y="1085850"/>
            <a:ext cx="4828292" cy="3579954"/>
          </a:xfrm>
        </p:spPr>
        <p:txBody>
          <a:bodyPr/>
          <a:lstStyle/>
          <a:p>
            <a:r>
              <a:rPr lang="en-US" sz="2800" dirty="0">
                <a:solidFill>
                  <a:schemeClr val="accent2">
                    <a:alpha val="99000"/>
                  </a:schemeClr>
                </a:solidFill>
                <a:latin typeface="+mn-lt"/>
              </a:rPr>
              <a:t>Your “virtual” branch office / datacenter in the cloud</a:t>
            </a:r>
          </a:p>
          <a:p>
            <a:pPr lvl="1"/>
            <a:r>
              <a:rPr lang="en-US" sz="1400" dirty="0"/>
              <a:t>Enables customers to extend their Enterprise Networks </a:t>
            </a:r>
            <a:br>
              <a:rPr lang="en-US" sz="1400" dirty="0"/>
            </a:br>
            <a:r>
              <a:rPr lang="en-US" sz="1400" dirty="0"/>
              <a:t>into Windows Azure</a:t>
            </a:r>
          </a:p>
          <a:p>
            <a:pPr lvl="1"/>
            <a:r>
              <a:rPr lang="en-US" sz="1400" dirty="0"/>
              <a:t>Networking on-ramp for migrating existing apps </a:t>
            </a:r>
            <a:br>
              <a:rPr lang="en-US" sz="1400" dirty="0"/>
            </a:br>
            <a:r>
              <a:rPr lang="en-US" sz="1400" dirty="0"/>
              <a:t>and services to Windows Azure</a:t>
            </a:r>
          </a:p>
          <a:p>
            <a:pPr lvl="1"/>
            <a:r>
              <a:rPr lang="en-US" sz="1400" dirty="0"/>
              <a:t>Enables “hybrid” apps that span cloud and their premises</a:t>
            </a:r>
          </a:p>
          <a:p>
            <a:pPr lvl="1"/>
            <a:endParaRPr lang="en-US" sz="1400" dirty="0">
              <a:solidFill>
                <a:schemeClr val="accent2">
                  <a:alpha val="99000"/>
                </a:schemeClr>
              </a:solidFill>
            </a:endParaRPr>
          </a:p>
          <a:p>
            <a:pPr lvl="1"/>
            <a:r>
              <a:rPr lang="en-US" sz="2800" dirty="0">
                <a:solidFill>
                  <a:schemeClr val="accent2">
                    <a:alpha val="99000"/>
                  </a:schemeClr>
                </a:solidFill>
              </a:rPr>
              <a:t>A protected private virtual network in the cloud</a:t>
            </a:r>
          </a:p>
          <a:p>
            <a:pPr lvl="1"/>
            <a:r>
              <a:rPr lang="en-US" sz="1400" dirty="0"/>
              <a:t>Enables customers to setup secure private IPv4 </a:t>
            </a:r>
            <a:br>
              <a:rPr lang="en-US" sz="1400" dirty="0"/>
            </a:br>
            <a:r>
              <a:rPr lang="en-US" sz="1400" dirty="0"/>
              <a:t>networks fully contained within Windows Azure</a:t>
            </a:r>
          </a:p>
          <a:p>
            <a:pPr lvl="1"/>
            <a:r>
              <a:rPr lang="en-US" sz="1400" dirty="0"/>
              <a:t>IP address persistence</a:t>
            </a:r>
          </a:p>
          <a:p>
            <a:pPr lvl="1"/>
            <a:r>
              <a:rPr lang="en-US" sz="1400" dirty="0"/>
              <a:t>Inter-service DIP-to-DIP communication</a:t>
            </a:r>
          </a:p>
        </p:txBody>
      </p:sp>
      <p:sp>
        <p:nvSpPr>
          <p:cNvPr id="88" name="Rectangle 87"/>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93" name="Rectangle 92"/>
          <p:cNvSpPr/>
          <p:nvPr/>
        </p:nvSpPr>
        <p:spPr>
          <a:xfrm>
            <a:off x="6132519"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1</a:t>
            </a:r>
          </a:p>
        </p:txBody>
      </p:sp>
      <p:sp>
        <p:nvSpPr>
          <p:cNvPr id="94" name="Rectangle 93"/>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r>
              <a:rPr lang="en-US" sz="900" dirty="0">
                <a:ln>
                  <a:solidFill>
                    <a:schemeClr val="bg1">
                      <a:alpha val="0"/>
                    </a:schemeClr>
                  </a:solidFill>
                </a:ln>
              </a:rPr>
              <a:t>VM 2</a:t>
            </a:r>
          </a:p>
        </p:txBody>
      </p:sp>
      <p:sp>
        <p:nvSpPr>
          <p:cNvPr id="95" name="Rectangle 94"/>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86" tIns="34286" rIns="34286" bIns="34286" rtlCol="0" anchor="ctr"/>
          <a:lstStyle/>
          <a:p>
            <a:pPr algn="ctr"/>
            <a:r>
              <a:rPr lang="en-US" sz="900" dirty="0">
                <a:ln>
                  <a:solidFill>
                    <a:schemeClr val="bg1">
                      <a:alpha val="0"/>
                    </a:schemeClr>
                  </a:solidFill>
                </a:ln>
              </a:rPr>
              <a:t>ROLE 1</a:t>
            </a:r>
          </a:p>
        </p:txBody>
      </p:sp>
      <p:cxnSp>
        <p:nvCxnSpPr>
          <p:cNvPr id="109" name="Straight Connector 108"/>
          <p:cNvCxnSpPr>
            <a:stCxn id="93" idx="3"/>
            <a:endCxn id="94" idx="1"/>
          </p:cNvCxnSpPr>
          <p:nvPr>
            <p:custDataLst>
              <p:tags r:id="rId5"/>
            </p:custDataLst>
          </p:nvPr>
        </p:nvCxnSpPr>
        <p:spPr>
          <a:xfrm>
            <a:off x="6612709"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6" name="Rectangle 115"/>
          <p:cNvSpPr/>
          <p:nvPr>
            <p:custDataLst>
              <p:tags r:id="rId6"/>
            </p:custDataLst>
          </p:nvPr>
        </p:nvSpPr>
        <p:spPr>
          <a:xfrm>
            <a:off x="6095354"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sp>
        <p:nvSpPr>
          <p:cNvPr id="117" name="Rectangle 116"/>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71" tIns="34286" rIns="68571" bIns="34286" rtlCol="0" anchor="ctr"/>
          <a:lstStyle/>
          <a:p>
            <a:pPr algn="ctr"/>
            <a:endParaRPr lang="en-US" dirty="0">
              <a:ln>
                <a:solidFill>
                  <a:schemeClr val="bg1">
                    <a:alpha val="0"/>
                  </a:schemeClr>
                </a:solidFill>
              </a:ln>
            </a:endParaRPr>
          </a:p>
        </p:txBody>
      </p:sp>
      <p:cxnSp>
        <p:nvCxnSpPr>
          <p:cNvPr id="118" name="Straight Connector 117"/>
          <p:cNvCxnSpPr>
            <a:stCxn id="93" idx="2"/>
            <a:endCxn id="95" idx="0"/>
          </p:cNvCxnSpPr>
          <p:nvPr>
            <p:custDataLst>
              <p:tags r:id="rId8"/>
            </p:custDataLst>
          </p:nvPr>
        </p:nvCxnSpPr>
        <p:spPr>
          <a:xfrm rot="16200000" flipH="1">
            <a:off x="6591168" y="1825526"/>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a:xfrm>
            <a:off x="6081333" y="2231002"/>
            <a:ext cx="554623"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2</a:t>
            </a:r>
          </a:p>
        </p:txBody>
      </p:sp>
      <p:sp>
        <p:nvSpPr>
          <p:cNvPr id="120" name="Rectangle 119"/>
          <p:cNvSpPr/>
          <p:nvPr/>
        </p:nvSpPr>
        <p:spPr>
          <a:xfrm>
            <a:off x="7270946" y="2042896"/>
            <a:ext cx="554624" cy="196208"/>
          </a:xfrm>
          <a:prstGeom prst="rect">
            <a:avLst/>
          </a:prstGeom>
        </p:spPr>
        <p:txBody>
          <a:bodyPr wrap="none" lIns="68571" tIns="34286" rIns="68571" bIns="34286">
            <a:spAutoFit/>
          </a:bodyPr>
          <a:lstStyle/>
          <a:p>
            <a:pPr algn="ctr" defTabSz="685261" fontAlgn="base">
              <a:spcBef>
                <a:spcPts val="900"/>
              </a:spcBef>
              <a:spcAft>
                <a:spcPct val="0"/>
              </a:spcAft>
            </a:pPr>
            <a:r>
              <a:rPr lang="en-US" sz="800" dirty="0">
                <a:ln>
                  <a:solidFill>
                    <a:srgbClr val="FFFFFF">
                      <a:alpha val="0"/>
                    </a:srgbClr>
                  </a:solidFill>
                </a:ln>
                <a:solidFill>
                  <a:srgbClr val="595959"/>
                </a:solidFill>
              </a:rPr>
              <a:t>Subnet 1</a:t>
            </a:r>
          </a:p>
        </p:txBody>
      </p:sp>
      <p:cxnSp>
        <p:nvCxnSpPr>
          <p:cNvPr id="132" name="Straight Arrow Connector 131"/>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195" name="Straight Connector 194"/>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p:cNvCxnSpPr/>
          <p:nvPr/>
        </p:nvCxnSpPr>
        <p:spPr>
          <a:xfrm flipH="1">
            <a:off x="6386346" y="3086107"/>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p:nvCxnSpPr>
        <p:spPr>
          <a:xfrm flipH="1">
            <a:off x="6696458" y="3067056"/>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3" name="Straight Connector 202"/>
          <p:cNvCxnSpPr/>
          <p:nvPr/>
        </p:nvCxnSpPr>
        <p:spPr>
          <a:xfrm>
            <a:off x="7049152"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p:nvCxnSpPr>
        <p:spPr>
          <a:xfrm flipH="1">
            <a:off x="7241049" y="3421346"/>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a:off x="7432311" y="3421345"/>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4" name="Straight Connector 213"/>
          <p:cNvCxnSpPr/>
          <p:nvPr/>
        </p:nvCxnSpPr>
        <p:spPr>
          <a:xfrm>
            <a:off x="7432306" y="3421341"/>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80" name="Freeform 6"/>
          <p:cNvSpPr>
            <a:spLocks noEditPoints="1"/>
          </p:cNvSpPr>
          <p:nvPr/>
        </p:nvSpPr>
        <p:spPr bwMode="auto">
          <a:xfrm>
            <a:off x="5855848" y="33856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3" name="Freeform 6"/>
          <p:cNvSpPr>
            <a:spLocks noEditPoints="1"/>
          </p:cNvSpPr>
          <p:nvPr/>
        </p:nvSpPr>
        <p:spPr bwMode="auto">
          <a:xfrm>
            <a:off x="6201219" y="3623776"/>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4" name="Freeform 6"/>
          <p:cNvSpPr>
            <a:spLocks noEditPoints="1"/>
          </p:cNvSpPr>
          <p:nvPr/>
        </p:nvSpPr>
        <p:spPr bwMode="auto">
          <a:xfrm>
            <a:off x="6577556"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6" name="Freeform 6"/>
          <p:cNvSpPr>
            <a:spLocks noEditPoints="1"/>
          </p:cNvSpPr>
          <p:nvPr/>
        </p:nvSpPr>
        <p:spPr bwMode="auto">
          <a:xfrm>
            <a:off x="7130149" y="3728551"/>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7" name="Freeform 6"/>
          <p:cNvSpPr>
            <a:spLocks noEditPoints="1"/>
          </p:cNvSpPr>
          <p:nvPr/>
        </p:nvSpPr>
        <p:spPr bwMode="auto">
          <a:xfrm>
            <a:off x="7525539" y="365949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sp>
        <p:nvSpPr>
          <p:cNvPr id="89" name="Freeform 6"/>
          <p:cNvSpPr>
            <a:spLocks noEditPoints="1"/>
          </p:cNvSpPr>
          <p:nvPr/>
        </p:nvSpPr>
        <p:spPr bwMode="auto">
          <a:xfrm>
            <a:off x="7801836" y="3549958"/>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71" tIns="34286" rIns="68571" bIns="34286" numCol="1" anchor="t" anchorCtr="0" compatLnSpc="1">
            <a:prstTxWarp prst="textNoShape">
              <a:avLst/>
            </a:prstTxWarp>
          </a:bodyPr>
          <a:lstStyle/>
          <a:p>
            <a:endParaRPr lang="en-US" dirty="0"/>
          </a:p>
        </p:txBody>
      </p:sp>
      <p:grpSp>
        <p:nvGrpSpPr>
          <p:cNvPr id="19" name="Group 18"/>
          <p:cNvGrpSpPr/>
          <p:nvPr/>
        </p:nvGrpSpPr>
        <p:grpSpPr>
          <a:xfrm>
            <a:off x="6694831" y="2958005"/>
            <a:ext cx="674676" cy="186906"/>
            <a:chOff x="8924116" y="3944007"/>
            <a:chExt cx="899334" cy="249208"/>
          </a:xfrm>
        </p:grpSpPr>
        <p:sp>
          <p:nvSpPr>
            <p:cNvPr id="18" name="Rectangle 1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1" name="Group 100"/>
          <p:cNvGrpSpPr/>
          <p:nvPr/>
        </p:nvGrpSpPr>
        <p:grpSpPr>
          <a:xfrm>
            <a:off x="7159702" y="3272212"/>
            <a:ext cx="559535" cy="155009"/>
            <a:chOff x="8924116" y="3944007"/>
            <a:chExt cx="899334" cy="249208"/>
          </a:xfrm>
        </p:grpSpPr>
        <p:sp>
          <p:nvSpPr>
            <p:cNvPr id="103" name="Rectangle 102"/>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4"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106" name="Group 105"/>
          <p:cNvGrpSpPr/>
          <p:nvPr/>
        </p:nvGrpSpPr>
        <p:grpSpPr>
          <a:xfrm>
            <a:off x="7314120" y="2390459"/>
            <a:ext cx="426962" cy="118281"/>
            <a:chOff x="8924116" y="3944007"/>
            <a:chExt cx="899334" cy="249208"/>
          </a:xfrm>
        </p:grpSpPr>
        <p:sp>
          <p:nvSpPr>
            <p:cNvPr id="107" name="Rectangle 106"/>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08"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spTree>
    <p:extLst>
      <p:ext uri="{BB962C8B-B14F-4D97-AF65-F5344CB8AC3E}">
        <p14:creationId xmlns:p14="http://schemas.microsoft.com/office/powerpoint/2010/main" val="3293478515"/>
      </p:ext>
    </p:extLst>
  </p:cSld>
  <p:clrMapOvr>
    <a:masterClrMapping/>
  </p:clrMapOvr>
  <p:transition>
    <p:fade/>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Networks Scenarios</a:t>
            </a:r>
            <a:endParaRPr lang="en-US" dirty="0"/>
          </a:p>
        </p:txBody>
      </p:sp>
      <p:sp>
        <p:nvSpPr>
          <p:cNvPr id="3" name="Content Placeholder 2"/>
          <p:cNvSpPr>
            <a:spLocks noGrp="1"/>
          </p:cNvSpPr>
          <p:nvPr>
            <p:ph type="body" sz="quarter" idx="10"/>
          </p:nvPr>
        </p:nvSpPr>
        <p:spPr>
          <a:xfrm>
            <a:off x="389436" y="1085850"/>
            <a:ext cx="8363938" cy="3717171"/>
          </a:xfrm>
        </p:spPr>
        <p:txBody>
          <a:bodyPr/>
          <a:lstStyle/>
          <a:p>
            <a:r>
              <a:rPr lang="en-US" sz="1800" dirty="0" smtClean="0">
                <a:solidFill>
                  <a:schemeClr val="accent2"/>
                </a:solidFill>
                <a:latin typeface="+mn-lt"/>
              </a:rPr>
              <a:t>Hybrid Public/Private Cloud</a:t>
            </a:r>
          </a:p>
          <a:p>
            <a:r>
              <a:rPr lang="en-US" sz="1800" dirty="0" smtClean="0">
                <a:latin typeface="+mn-lt"/>
              </a:rPr>
              <a:t>Enterprise app in Windows Azure requiring connectivity to on-premise resources</a:t>
            </a:r>
          </a:p>
          <a:p>
            <a:pPr lvl="1"/>
            <a:endParaRPr lang="en-US" sz="1050" dirty="0" smtClean="0"/>
          </a:p>
          <a:p>
            <a:r>
              <a:rPr lang="en-US" sz="1800" dirty="0" smtClean="0">
                <a:solidFill>
                  <a:schemeClr val="accent2">
                    <a:alpha val="99000"/>
                  </a:schemeClr>
                </a:solidFill>
                <a:latin typeface="+mn-lt"/>
              </a:rPr>
              <a:t>Enterprise Identity and Access Control</a:t>
            </a:r>
          </a:p>
          <a:p>
            <a:pPr lvl="1"/>
            <a:r>
              <a:rPr lang="en-US" sz="1800" dirty="0" smtClean="0">
                <a:latin typeface="+mn-lt"/>
              </a:rPr>
              <a:t>Manage identity and access control with on-premise resources </a:t>
            </a:r>
            <a:br>
              <a:rPr lang="en-US" sz="1800" dirty="0" smtClean="0">
                <a:latin typeface="+mn-lt"/>
              </a:rPr>
            </a:br>
            <a:r>
              <a:rPr lang="en-US" sz="1800" dirty="0" smtClean="0">
                <a:latin typeface="+mn-lt"/>
              </a:rPr>
              <a:t>(on-premises Active Directory)</a:t>
            </a:r>
            <a:br>
              <a:rPr lang="en-US" sz="1800" dirty="0" smtClean="0">
                <a:latin typeface="+mn-lt"/>
              </a:rPr>
            </a:br>
            <a:endParaRPr lang="en-US" sz="1050" dirty="0"/>
          </a:p>
          <a:p>
            <a:r>
              <a:rPr lang="en-US" sz="1800" dirty="0" smtClean="0">
                <a:solidFill>
                  <a:schemeClr val="accent2">
                    <a:alpha val="99000"/>
                  </a:schemeClr>
                </a:solidFill>
                <a:latin typeface="+mn-lt"/>
              </a:rPr>
              <a:t>Monitoring and Management</a:t>
            </a:r>
          </a:p>
          <a:p>
            <a:r>
              <a:rPr lang="en-US" sz="1800" dirty="0" smtClean="0">
                <a:latin typeface="+mn-lt"/>
              </a:rPr>
              <a:t>Remote monitoring and trouble-shooting of  resources </a:t>
            </a:r>
            <a:br>
              <a:rPr lang="en-US" sz="1800" dirty="0" smtClean="0">
                <a:latin typeface="+mn-lt"/>
              </a:rPr>
            </a:br>
            <a:r>
              <a:rPr lang="en-US" sz="1800" dirty="0" smtClean="0">
                <a:latin typeface="+mn-lt"/>
              </a:rPr>
              <a:t>running in Windows Azure</a:t>
            </a:r>
          </a:p>
          <a:p>
            <a:pPr lvl="1"/>
            <a:endParaRPr lang="en-US" sz="1050" dirty="0"/>
          </a:p>
          <a:p>
            <a:r>
              <a:rPr lang="en-US" sz="1800" dirty="0" smtClean="0">
                <a:solidFill>
                  <a:schemeClr val="accent2">
                    <a:alpha val="99000"/>
                  </a:schemeClr>
                </a:solidFill>
                <a:latin typeface="+mn-lt"/>
              </a:rPr>
              <a:t>Advanced Connectivity Requirements</a:t>
            </a:r>
          </a:p>
          <a:p>
            <a:r>
              <a:rPr lang="en-US" sz="1800" dirty="0" smtClean="0">
                <a:latin typeface="+mn-lt"/>
              </a:rPr>
              <a:t>Cloud deployments requiring persistent IP addresses </a:t>
            </a:r>
            <a:br>
              <a:rPr lang="en-US" sz="1800" dirty="0" smtClean="0">
                <a:latin typeface="+mn-lt"/>
              </a:rPr>
            </a:br>
            <a:r>
              <a:rPr lang="en-US" sz="1800" dirty="0" smtClean="0">
                <a:latin typeface="+mn-lt"/>
              </a:rPr>
              <a:t>and direct connectivity across services</a:t>
            </a:r>
            <a:endParaRPr lang="en-US" sz="1800" dirty="0">
              <a:latin typeface="+mn-lt"/>
            </a:endParaRPr>
          </a:p>
        </p:txBody>
      </p:sp>
      <p:sp>
        <p:nvSpPr>
          <p:cNvPr id="4" name="Freeform 18"/>
          <p:cNvSpPr>
            <a:spLocks noEditPoints="1"/>
          </p:cNvSpPr>
          <p:nvPr/>
        </p:nvSpPr>
        <p:spPr bwMode="black">
          <a:xfrm>
            <a:off x="7033316" y="2614305"/>
            <a:ext cx="1604266" cy="1965960"/>
          </a:xfrm>
          <a:custGeom>
            <a:avLst/>
            <a:gdLst>
              <a:gd name="T0" fmla="*/ 129 w 246"/>
              <a:gd name="T1" fmla="*/ 192 h 300"/>
              <a:gd name="T2" fmla="*/ 43 w 246"/>
              <a:gd name="T3" fmla="*/ 202 h 300"/>
              <a:gd name="T4" fmla="*/ 129 w 246"/>
              <a:gd name="T5" fmla="*/ 126 h 300"/>
              <a:gd name="T6" fmla="*/ 43 w 246"/>
              <a:gd name="T7" fmla="*/ 135 h 300"/>
              <a:gd name="T8" fmla="*/ 129 w 246"/>
              <a:gd name="T9" fmla="*/ 126 h 300"/>
              <a:gd name="T10" fmla="*/ 215 w 246"/>
              <a:gd name="T11" fmla="*/ 101 h 300"/>
              <a:gd name="T12" fmla="*/ 219 w 246"/>
              <a:gd name="T13" fmla="*/ 90 h 300"/>
              <a:gd name="T14" fmla="*/ 208 w 246"/>
              <a:gd name="T15" fmla="*/ 111 h 300"/>
              <a:gd name="T16" fmla="*/ 43 w 246"/>
              <a:gd name="T17" fmla="*/ 92 h 300"/>
              <a:gd name="T18" fmla="*/ 117 w 246"/>
              <a:gd name="T19" fmla="*/ 102 h 300"/>
              <a:gd name="T20" fmla="*/ 43 w 246"/>
              <a:gd name="T21" fmla="*/ 235 h 300"/>
              <a:gd name="T22" fmla="*/ 117 w 246"/>
              <a:gd name="T23" fmla="*/ 226 h 300"/>
              <a:gd name="T24" fmla="*/ 43 w 246"/>
              <a:gd name="T25" fmla="*/ 235 h 300"/>
              <a:gd name="T26" fmla="*/ 11 w 246"/>
              <a:gd name="T27" fmla="*/ 287 h 300"/>
              <a:gd name="T28" fmla="*/ 35 w 246"/>
              <a:gd name="T29" fmla="*/ 36 h 300"/>
              <a:gd name="T30" fmla="*/ 0 w 246"/>
              <a:gd name="T31" fmla="*/ 22 h 300"/>
              <a:gd name="T32" fmla="*/ 219 w 246"/>
              <a:gd name="T33" fmla="*/ 300 h 300"/>
              <a:gd name="T34" fmla="*/ 208 w 246"/>
              <a:gd name="T35" fmla="*/ 173 h 300"/>
              <a:gd name="T36" fmla="*/ 117 w 246"/>
              <a:gd name="T37" fmla="*/ 159 h 300"/>
              <a:gd name="T38" fmla="*/ 43 w 246"/>
              <a:gd name="T39" fmla="*/ 169 h 300"/>
              <a:gd name="T40" fmla="*/ 117 w 246"/>
              <a:gd name="T41" fmla="*/ 159 h 300"/>
              <a:gd name="T42" fmla="*/ 57 w 246"/>
              <a:gd name="T43" fmla="*/ 22 h 300"/>
              <a:gd name="T44" fmla="*/ 86 w 246"/>
              <a:gd name="T45" fmla="*/ 20 h 300"/>
              <a:gd name="T46" fmla="*/ 110 w 246"/>
              <a:gd name="T47" fmla="*/ 0 h 300"/>
              <a:gd name="T48" fmla="*/ 133 w 246"/>
              <a:gd name="T49" fmla="*/ 20 h 300"/>
              <a:gd name="T50" fmla="*/ 162 w 246"/>
              <a:gd name="T51" fmla="*/ 22 h 300"/>
              <a:gd name="T52" fmla="*/ 179 w 246"/>
              <a:gd name="T53" fmla="*/ 43 h 300"/>
              <a:gd name="T54" fmla="*/ 41 w 246"/>
              <a:gd name="T55" fmla="*/ 36 h 300"/>
              <a:gd name="T56" fmla="*/ 110 w 246"/>
              <a:gd name="T57" fmla="*/ 20 h 300"/>
              <a:gd name="T58" fmla="*/ 110 w 246"/>
              <a:gd name="T59" fmla="*/ 11 h 300"/>
              <a:gd name="T60" fmla="*/ 190 w 246"/>
              <a:gd name="T61" fmla="*/ 269 h 300"/>
              <a:gd name="T62" fmla="*/ 29 w 246"/>
              <a:gd name="T63" fmla="*/ 59 h 300"/>
              <a:gd name="T64" fmla="*/ 190 w 246"/>
              <a:gd name="T65" fmla="*/ 71 h 300"/>
              <a:gd name="T66" fmla="*/ 200 w 246"/>
              <a:gd name="T67" fmla="*/ 49 h 300"/>
              <a:gd name="T68" fmla="*/ 19 w 246"/>
              <a:gd name="T69" fmla="*/ 278 h 300"/>
              <a:gd name="T70" fmla="*/ 200 w 246"/>
              <a:gd name="T71" fmla="*/ 185 h 300"/>
              <a:gd name="T72" fmla="*/ 190 w 246"/>
              <a:gd name="T73" fmla="*/ 269 h 300"/>
              <a:gd name="T74" fmla="*/ 190 w 246"/>
              <a:gd name="T75" fmla="*/ 133 h 300"/>
              <a:gd name="T76" fmla="*/ 200 w 246"/>
              <a:gd name="T77" fmla="*/ 124 h 300"/>
              <a:gd name="T78" fmla="*/ 215 w 246"/>
              <a:gd name="T79" fmla="*/ 35 h 300"/>
              <a:gd name="T80" fmla="*/ 219 w 246"/>
              <a:gd name="T81" fmla="*/ 22 h 300"/>
              <a:gd name="T82" fmla="*/ 184 w 246"/>
              <a:gd name="T83" fmla="*/ 36 h 300"/>
              <a:gd name="T84" fmla="*/ 208 w 246"/>
              <a:gd name="T85" fmla="*/ 44 h 300"/>
              <a:gd name="T86" fmla="*/ 246 w 246"/>
              <a:gd name="T87" fmla="*/ 41 h 300"/>
              <a:gd name="T88" fmla="*/ 155 w 246"/>
              <a:gd name="T89" fmla="*/ 134 h 300"/>
              <a:gd name="T90" fmla="*/ 156 w 246"/>
              <a:gd name="T91" fmla="*/ 92 h 300"/>
              <a:gd name="T92" fmla="*/ 218 w 246"/>
              <a:gd name="T93" fmla="*/ 41 h 300"/>
              <a:gd name="T94" fmla="*/ 246 w 246"/>
              <a:gd name="T95" fmla="*/ 107 h 300"/>
              <a:gd name="T96" fmla="*/ 155 w 246"/>
              <a:gd name="T97" fmla="*/ 201 h 300"/>
              <a:gd name="T98" fmla="*/ 156 w 246"/>
              <a:gd name="T99" fmla="*/ 159 h 300"/>
              <a:gd name="T100" fmla="*/ 218 w 246"/>
              <a:gd name="T101" fmla="*/ 107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46" h="300">
                <a:moveTo>
                  <a:pt x="43" y="192"/>
                </a:moveTo>
                <a:cubicBezTo>
                  <a:pt x="129" y="192"/>
                  <a:pt x="129" y="192"/>
                  <a:pt x="129" y="192"/>
                </a:cubicBezTo>
                <a:cubicBezTo>
                  <a:pt x="129" y="202"/>
                  <a:pt x="129" y="202"/>
                  <a:pt x="129" y="202"/>
                </a:cubicBezTo>
                <a:cubicBezTo>
                  <a:pt x="43" y="202"/>
                  <a:pt x="43" y="202"/>
                  <a:pt x="43" y="202"/>
                </a:cubicBezTo>
                <a:lnTo>
                  <a:pt x="43" y="192"/>
                </a:lnTo>
                <a:close/>
                <a:moveTo>
                  <a:pt x="129" y="126"/>
                </a:moveTo>
                <a:cubicBezTo>
                  <a:pt x="43" y="126"/>
                  <a:pt x="43" y="126"/>
                  <a:pt x="43" y="126"/>
                </a:cubicBezTo>
                <a:cubicBezTo>
                  <a:pt x="43" y="135"/>
                  <a:pt x="43" y="135"/>
                  <a:pt x="43" y="135"/>
                </a:cubicBezTo>
                <a:cubicBezTo>
                  <a:pt x="129" y="135"/>
                  <a:pt x="129" y="135"/>
                  <a:pt x="129" y="135"/>
                </a:cubicBezTo>
                <a:lnTo>
                  <a:pt x="129" y="126"/>
                </a:lnTo>
                <a:close/>
                <a:moveTo>
                  <a:pt x="208" y="111"/>
                </a:moveTo>
                <a:cubicBezTo>
                  <a:pt x="215" y="101"/>
                  <a:pt x="215" y="101"/>
                  <a:pt x="215" y="101"/>
                </a:cubicBezTo>
                <a:cubicBezTo>
                  <a:pt x="219" y="101"/>
                  <a:pt x="219" y="101"/>
                  <a:pt x="219" y="101"/>
                </a:cubicBezTo>
                <a:cubicBezTo>
                  <a:pt x="219" y="90"/>
                  <a:pt x="219" y="90"/>
                  <a:pt x="219" y="90"/>
                </a:cubicBezTo>
                <a:cubicBezTo>
                  <a:pt x="208" y="106"/>
                  <a:pt x="208" y="106"/>
                  <a:pt x="208" y="106"/>
                </a:cubicBezTo>
                <a:lnTo>
                  <a:pt x="208" y="111"/>
                </a:lnTo>
                <a:close/>
                <a:moveTo>
                  <a:pt x="117" y="92"/>
                </a:moveTo>
                <a:cubicBezTo>
                  <a:pt x="43" y="92"/>
                  <a:pt x="43" y="92"/>
                  <a:pt x="43" y="92"/>
                </a:cubicBezTo>
                <a:cubicBezTo>
                  <a:pt x="43" y="102"/>
                  <a:pt x="43" y="102"/>
                  <a:pt x="43" y="102"/>
                </a:cubicBezTo>
                <a:cubicBezTo>
                  <a:pt x="117" y="102"/>
                  <a:pt x="117" y="102"/>
                  <a:pt x="117" y="102"/>
                </a:cubicBezTo>
                <a:lnTo>
                  <a:pt x="117" y="92"/>
                </a:lnTo>
                <a:close/>
                <a:moveTo>
                  <a:pt x="43" y="235"/>
                </a:moveTo>
                <a:cubicBezTo>
                  <a:pt x="117" y="235"/>
                  <a:pt x="117" y="235"/>
                  <a:pt x="117" y="235"/>
                </a:cubicBezTo>
                <a:cubicBezTo>
                  <a:pt x="117" y="226"/>
                  <a:pt x="117" y="226"/>
                  <a:pt x="117" y="226"/>
                </a:cubicBezTo>
                <a:cubicBezTo>
                  <a:pt x="43" y="226"/>
                  <a:pt x="43" y="226"/>
                  <a:pt x="43" y="226"/>
                </a:cubicBezTo>
                <a:lnTo>
                  <a:pt x="43" y="235"/>
                </a:lnTo>
                <a:close/>
                <a:moveTo>
                  <a:pt x="208" y="287"/>
                </a:moveTo>
                <a:cubicBezTo>
                  <a:pt x="11" y="287"/>
                  <a:pt x="11" y="287"/>
                  <a:pt x="11" y="287"/>
                </a:cubicBezTo>
                <a:cubicBezTo>
                  <a:pt x="11" y="36"/>
                  <a:pt x="11" y="36"/>
                  <a:pt x="11" y="36"/>
                </a:cubicBezTo>
                <a:cubicBezTo>
                  <a:pt x="35" y="36"/>
                  <a:pt x="35" y="36"/>
                  <a:pt x="35" y="36"/>
                </a:cubicBezTo>
                <a:cubicBezTo>
                  <a:pt x="37" y="31"/>
                  <a:pt x="40" y="26"/>
                  <a:pt x="44" y="22"/>
                </a:cubicBezTo>
                <a:cubicBezTo>
                  <a:pt x="0" y="22"/>
                  <a:pt x="0" y="22"/>
                  <a:pt x="0" y="22"/>
                </a:cubicBezTo>
                <a:cubicBezTo>
                  <a:pt x="0" y="300"/>
                  <a:pt x="0" y="300"/>
                  <a:pt x="0" y="300"/>
                </a:cubicBezTo>
                <a:cubicBezTo>
                  <a:pt x="219" y="300"/>
                  <a:pt x="219" y="300"/>
                  <a:pt x="219" y="300"/>
                </a:cubicBezTo>
                <a:cubicBezTo>
                  <a:pt x="219" y="157"/>
                  <a:pt x="219" y="157"/>
                  <a:pt x="219" y="157"/>
                </a:cubicBezTo>
                <a:cubicBezTo>
                  <a:pt x="208" y="173"/>
                  <a:pt x="208" y="173"/>
                  <a:pt x="208" y="173"/>
                </a:cubicBezTo>
                <a:lnTo>
                  <a:pt x="208" y="287"/>
                </a:lnTo>
                <a:close/>
                <a:moveTo>
                  <a:pt x="117" y="159"/>
                </a:moveTo>
                <a:cubicBezTo>
                  <a:pt x="43" y="159"/>
                  <a:pt x="43" y="159"/>
                  <a:pt x="43" y="159"/>
                </a:cubicBezTo>
                <a:cubicBezTo>
                  <a:pt x="43" y="169"/>
                  <a:pt x="43" y="169"/>
                  <a:pt x="43" y="169"/>
                </a:cubicBezTo>
                <a:cubicBezTo>
                  <a:pt x="117" y="169"/>
                  <a:pt x="117" y="169"/>
                  <a:pt x="117" y="169"/>
                </a:cubicBezTo>
                <a:lnTo>
                  <a:pt x="117" y="159"/>
                </a:lnTo>
                <a:close/>
                <a:moveTo>
                  <a:pt x="41" y="36"/>
                </a:moveTo>
                <a:cubicBezTo>
                  <a:pt x="43" y="29"/>
                  <a:pt x="50" y="25"/>
                  <a:pt x="57" y="22"/>
                </a:cubicBezTo>
                <a:cubicBezTo>
                  <a:pt x="63" y="21"/>
                  <a:pt x="71" y="20"/>
                  <a:pt x="77" y="20"/>
                </a:cubicBezTo>
                <a:cubicBezTo>
                  <a:pt x="80" y="20"/>
                  <a:pt x="83" y="20"/>
                  <a:pt x="86" y="20"/>
                </a:cubicBezTo>
                <a:cubicBezTo>
                  <a:pt x="87" y="20"/>
                  <a:pt x="88" y="20"/>
                  <a:pt x="89" y="20"/>
                </a:cubicBezTo>
                <a:cubicBezTo>
                  <a:pt x="89" y="9"/>
                  <a:pt x="98" y="0"/>
                  <a:pt x="110" y="0"/>
                </a:cubicBezTo>
                <a:cubicBezTo>
                  <a:pt x="121" y="0"/>
                  <a:pt x="130" y="9"/>
                  <a:pt x="130" y="20"/>
                </a:cubicBezTo>
                <a:cubicBezTo>
                  <a:pt x="131" y="20"/>
                  <a:pt x="132" y="20"/>
                  <a:pt x="133" y="20"/>
                </a:cubicBezTo>
                <a:cubicBezTo>
                  <a:pt x="136" y="20"/>
                  <a:pt x="139" y="20"/>
                  <a:pt x="142" y="20"/>
                </a:cubicBezTo>
                <a:cubicBezTo>
                  <a:pt x="149" y="20"/>
                  <a:pt x="156" y="21"/>
                  <a:pt x="162" y="22"/>
                </a:cubicBezTo>
                <a:cubicBezTo>
                  <a:pt x="170" y="25"/>
                  <a:pt x="176" y="29"/>
                  <a:pt x="178" y="36"/>
                </a:cubicBezTo>
                <a:cubicBezTo>
                  <a:pt x="179" y="38"/>
                  <a:pt x="179" y="41"/>
                  <a:pt x="179" y="43"/>
                </a:cubicBezTo>
                <a:cubicBezTo>
                  <a:pt x="145" y="43"/>
                  <a:pt x="74" y="43"/>
                  <a:pt x="40" y="43"/>
                </a:cubicBezTo>
                <a:cubicBezTo>
                  <a:pt x="40" y="41"/>
                  <a:pt x="41" y="38"/>
                  <a:pt x="41" y="36"/>
                </a:cubicBezTo>
                <a:close/>
                <a:moveTo>
                  <a:pt x="99" y="20"/>
                </a:moveTo>
                <a:cubicBezTo>
                  <a:pt x="103" y="20"/>
                  <a:pt x="106" y="20"/>
                  <a:pt x="110" y="20"/>
                </a:cubicBezTo>
                <a:cubicBezTo>
                  <a:pt x="113" y="20"/>
                  <a:pt x="116" y="20"/>
                  <a:pt x="120" y="20"/>
                </a:cubicBezTo>
                <a:cubicBezTo>
                  <a:pt x="119" y="15"/>
                  <a:pt x="115" y="11"/>
                  <a:pt x="110" y="11"/>
                </a:cubicBezTo>
                <a:cubicBezTo>
                  <a:pt x="104" y="11"/>
                  <a:pt x="100" y="15"/>
                  <a:pt x="99" y="20"/>
                </a:cubicBezTo>
                <a:close/>
                <a:moveTo>
                  <a:pt x="190" y="269"/>
                </a:moveTo>
                <a:cubicBezTo>
                  <a:pt x="29" y="269"/>
                  <a:pt x="29" y="269"/>
                  <a:pt x="29" y="269"/>
                </a:cubicBezTo>
                <a:cubicBezTo>
                  <a:pt x="29" y="59"/>
                  <a:pt x="29" y="59"/>
                  <a:pt x="29" y="59"/>
                </a:cubicBezTo>
                <a:cubicBezTo>
                  <a:pt x="190" y="59"/>
                  <a:pt x="190" y="59"/>
                  <a:pt x="190" y="59"/>
                </a:cubicBezTo>
                <a:cubicBezTo>
                  <a:pt x="190" y="71"/>
                  <a:pt x="190" y="71"/>
                  <a:pt x="190" y="71"/>
                </a:cubicBezTo>
                <a:cubicBezTo>
                  <a:pt x="200" y="57"/>
                  <a:pt x="200" y="57"/>
                  <a:pt x="200" y="57"/>
                </a:cubicBezTo>
                <a:cubicBezTo>
                  <a:pt x="200" y="49"/>
                  <a:pt x="200" y="49"/>
                  <a:pt x="200" y="49"/>
                </a:cubicBezTo>
                <a:cubicBezTo>
                  <a:pt x="19" y="49"/>
                  <a:pt x="19" y="49"/>
                  <a:pt x="19" y="49"/>
                </a:cubicBezTo>
                <a:cubicBezTo>
                  <a:pt x="19" y="278"/>
                  <a:pt x="19" y="278"/>
                  <a:pt x="19" y="278"/>
                </a:cubicBezTo>
                <a:cubicBezTo>
                  <a:pt x="200" y="278"/>
                  <a:pt x="200" y="278"/>
                  <a:pt x="200" y="278"/>
                </a:cubicBezTo>
                <a:cubicBezTo>
                  <a:pt x="200" y="185"/>
                  <a:pt x="200" y="185"/>
                  <a:pt x="200" y="185"/>
                </a:cubicBezTo>
                <a:cubicBezTo>
                  <a:pt x="190" y="199"/>
                  <a:pt x="190" y="199"/>
                  <a:pt x="190" y="199"/>
                </a:cubicBezTo>
                <a:lnTo>
                  <a:pt x="190" y="269"/>
                </a:lnTo>
                <a:close/>
                <a:moveTo>
                  <a:pt x="200" y="119"/>
                </a:moveTo>
                <a:cubicBezTo>
                  <a:pt x="190" y="133"/>
                  <a:pt x="190" y="133"/>
                  <a:pt x="190" y="133"/>
                </a:cubicBezTo>
                <a:cubicBezTo>
                  <a:pt x="190" y="138"/>
                  <a:pt x="190" y="138"/>
                  <a:pt x="190" y="138"/>
                </a:cubicBezTo>
                <a:cubicBezTo>
                  <a:pt x="200" y="124"/>
                  <a:pt x="200" y="124"/>
                  <a:pt x="200" y="124"/>
                </a:cubicBezTo>
                <a:lnTo>
                  <a:pt x="200" y="119"/>
                </a:lnTo>
                <a:close/>
                <a:moveTo>
                  <a:pt x="215" y="35"/>
                </a:moveTo>
                <a:cubicBezTo>
                  <a:pt x="219" y="35"/>
                  <a:pt x="219" y="35"/>
                  <a:pt x="219" y="35"/>
                </a:cubicBezTo>
                <a:cubicBezTo>
                  <a:pt x="219" y="22"/>
                  <a:pt x="219" y="22"/>
                  <a:pt x="219" y="22"/>
                </a:cubicBezTo>
                <a:cubicBezTo>
                  <a:pt x="175" y="22"/>
                  <a:pt x="175" y="22"/>
                  <a:pt x="175" y="22"/>
                </a:cubicBezTo>
                <a:cubicBezTo>
                  <a:pt x="179" y="26"/>
                  <a:pt x="182" y="30"/>
                  <a:pt x="184" y="36"/>
                </a:cubicBezTo>
                <a:cubicBezTo>
                  <a:pt x="208" y="36"/>
                  <a:pt x="208" y="36"/>
                  <a:pt x="208" y="36"/>
                </a:cubicBezTo>
                <a:cubicBezTo>
                  <a:pt x="208" y="44"/>
                  <a:pt x="208" y="44"/>
                  <a:pt x="208" y="44"/>
                </a:cubicBezTo>
                <a:lnTo>
                  <a:pt x="215" y="35"/>
                </a:lnTo>
                <a:close/>
                <a:moveTo>
                  <a:pt x="246" y="41"/>
                </a:moveTo>
                <a:cubicBezTo>
                  <a:pt x="182" y="134"/>
                  <a:pt x="182" y="134"/>
                  <a:pt x="182" y="134"/>
                </a:cubicBezTo>
                <a:cubicBezTo>
                  <a:pt x="155" y="134"/>
                  <a:pt x="155" y="134"/>
                  <a:pt x="155" y="134"/>
                </a:cubicBezTo>
                <a:cubicBezTo>
                  <a:pt x="129" y="92"/>
                  <a:pt x="129" y="92"/>
                  <a:pt x="129" y="92"/>
                </a:cubicBezTo>
                <a:cubicBezTo>
                  <a:pt x="156" y="92"/>
                  <a:pt x="156" y="92"/>
                  <a:pt x="156" y="92"/>
                </a:cubicBezTo>
                <a:cubicBezTo>
                  <a:pt x="169" y="113"/>
                  <a:pt x="169" y="113"/>
                  <a:pt x="169" y="113"/>
                </a:cubicBezTo>
                <a:cubicBezTo>
                  <a:pt x="218" y="41"/>
                  <a:pt x="218" y="41"/>
                  <a:pt x="218" y="41"/>
                </a:cubicBezTo>
                <a:lnTo>
                  <a:pt x="246" y="41"/>
                </a:lnTo>
                <a:close/>
                <a:moveTo>
                  <a:pt x="246" y="107"/>
                </a:moveTo>
                <a:cubicBezTo>
                  <a:pt x="182" y="201"/>
                  <a:pt x="182" y="201"/>
                  <a:pt x="182" y="201"/>
                </a:cubicBezTo>
                <a:cubicBezTo>
                  <a:pt x="155" y="201"/>
                  <a:pt x="155" y="201"/>
                  <a:pt x="155" y="201"/>
                </a:cubicBezTo>
                <a:cubicBezTo>
                  <a:pt x="129" y="159"/>
                  <a:pt x="129" y="159"/>
                  <a:pt x="129" y="159"/>
                </a:cubicBezTo>
                <a:cubicBezTo>
                  <a:pt x="156" y="159"/>
                  <a:pt x="156" y="159"/>
                  <a:pt x="156" y="159"/>
                </a:cubicBezTo>
                <a:cubicBezTo>
                  <a:pt x="169" y="180"/>
                  <a:pt x="169" y="180"/>
                  <a:pt x="169" y="180"/>
                </a:cubicBezTo>
                <a:cubicBezTo>
                  <a:pt x="218" y="107"/>
                  <a:pt x="218" y="107"/>
                  <a:pt x="218" y="107"/>
                </a:cubicBezTo>
                <a:lnTo>
                  <a:pt x="246" y="107"/>
                </a:lnTo>
                <a:close/>
              </a:path>
            </a:pathLst>
          </a:custGeom>
          <a:solidFill>
            <a:srgbClr val="595959"/>
          </a:solidFill>
          <a:ln>
            <a:noFill/>
          </a:ln>
        </p:spPr>
        <p:txBody>
          <a:bodyPr vert="horz" wrap="square" lIns="82305" tIns="41153" rIns="82305" bIns="41153" numCol="1" anchor="t" anchorCtr="0" compatLnSpc="1">
            <a:prstTxWarp prst="textNoShape">
              <a:avLst/>
            </a:prstTxWarp>
          </a:bodyPr>
          <a:lstStyle/>
          <a:p>
            <a:endParaRPr lang="en-US" sz="1600" dirty="0"/>
          </a:p>
        </p:txBody>
      </p:sp>
    </p:spTree>
    <p:extLst>
      <p:ext uri="{BB962C8B-B14F-4D97-AF65-F5344CB8AC3E}">
        <p14:creationId xmlns:p14="http://schemas.microsoft.com/office/powerpoint/2010/main" val="3049332192"/>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553998"/>
          </a:xfrm>
        </p:spPr>
        <p:txBody>
          <a:bodyPr/>
          <a:lstStyle/>
          <a:p>
            <a:pPr lvl="1"/>
            <a:r>
              <a:rPr lang="en-US" sz="3600" dirty="0">
                <a:solidFill>
                  <a:schemeClr val="tx2"/>
                </a:solidFill>
                <a:latin typeface="Segoe UI Light" pitchFamily="34" charset="0"/>
                <a:cs typeface="Segoe UI Light" pitchFamily="34" charset="0"/>
              </a:rPr>
              <a:t>Does Your App Need a Virtual Network?</a:t>
            </a:r>
          </a:p>
        </p:txBody>
      </p:sp>
      <p:sp>
        <p:nvSpPr>
          <p:cNvPr id="3" name="Text Placeholder 2"/>
          <p:cNvSpPr>
            <a:spLocks noGrp="1"/>
          </p:cNvSpPr>
          <p:nvPr>
            <p:ph type="body" sz="quarter" idx="10"/>
          </p:nvPr>
        </p:nvSpPr>
        <p:spPr>
          <a:xfrm>
            <a:off x="397701" y="1052803"/>
            <a:ext cx="6015402" cy="4158446"/>
          </a:xfrm>
        </p:spPr>
        <p:txBody>
          <a:bodyPr/>
          <a:lstStyle/>
          <a:p>
            <a:pPr lvl="1"/>
            <a:r>
              <a:rPr lang="en-US" sz="3000" dirty="0">
                <a:solidFill>
                  <a:schemeClr val="accent2"/>
                </a:solidFill>
                <a:latin typeface="Segoe UI Light" pitchFamily="34" charset="0"/>
                <a:cs typeface="Segoe UI Light" pitchFamily="34" charset="0"/>
              </a:rPr>
              <a:t>Persistent IP Address Requirements</a:t>
            </a:r>
          </a:p>
          <a:p>
            <a:pPr lvl="1"/>
            <a:r>
              <a:rPr lang="en-US" sz="2100" dirty="0">
                <a:solidFill>
                  <a:schemeClr val="tx2"/>
                </a:solidFill>
              </a:rPr>
              <a:t>Virtual Machines deployed into a virtual network have an infinite DHCP lease.</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Hybrid On-Premises Cloud Apps</a:t>
            </a:r>
          </a:p>
          <a:p>
            <a:pPr lvl="1"/>
            <a:r>
              <a:rPr lang="en-US" sz="2100" dirty="0">
                <a:solidFill>
                  <a:schemeClr val="tx2"/>
                </a:solidFill>
              </a:rPr>
              <a:t>Requirement for connectivity between your data center and the public cloud.  </a:t>
            </a:r>
          </a:p>
          <a:p>
            <a:pPr lvl="1"/>
            <a:endParaRPr lang="en-US" sz="600" dirty="0">
              <a:solidFill>
                <a:schemeClr val="accent2"/>
              </a:solidFill>
              <a:latin typeface="Segoe UI Light" pitchFamily="34" charset="0"/>
              <a:cs typeface="Segoe UI Light" pitchFamily="34" charset="0"/>
            </a:endParaRPr>
          </a:p>
          <a:p>
            <a:pPr lvl="1"/>
            <a:r>
              <a:rPr lang="en-US" sz="3000" dirty="0">
                <a:solidFill>
                  <a:schemeClr val="accent2"/>
                </a:solidFill>
                <a:latin typeface="Segoe UI Light" pitchFamily="34" charset="0"/>
                <a:cs typeface="Segoe UI Light" pitchFamily="34" charset="0"/>
              </a:rPr>
              <a:t>Connectivity between cloud services. </a:t>
            </a:r>
          </a:p>
          <a:p>
            <a:pPr lvl="1"/>
            <a:r>
              <a:rPr lang="en-US" sz="2100" dirty="0">
                <a:solidFill>
                  <a:schemeClr val="tx2"/>
                </a:solidFill>
              </a:rPr>
              <a:t>Deploying Active Directory in the Cloud or connecting a </a:t>
            </a:r>
            <a:r>
              <a:rPr lang="en-US" sz="2100" dirty="0" err="1">
                <a:solidFill>
                  <a:schemeClr val="tx2"/>
                </a:solidFill>
              </a:rPr>
              <a:t>PaaS</a:t>
            </a:r>
            <a:r>
              <a:rPr lang="en-US" sz="2100" dirty="0">
                <a:solidFill>
                  <a:schemeClr val="tx2"/>
                </a:solidFill>
              </a:rPr>
              <a:t> to </a:t>
            </a:r>
            <a:r>
              <a:rPr lang="en-US" sz="2100" dirty="0" err="1">
                <a:solidFill>
                  <a:schemeClr val="tx2"/>
                </a:solidFill>
              </a:rPr>
              <a:t>IaaS</a:t>
            </a:r>
            <a:r>
              <a:rPr lang="en-US" sz="2100" dirty="0">
                <a:solidFill>
                  <a:schemeClr val="tx2"/>
                </a:solidFill>
              </a:rPr>
              <a:t> Service.</a:t>
            </a:r>
          </a:p>
          <a:p>
            <a:pPr lvl="1"/>
            <a:endParaRPr lang="en-US" sz="600" dirty="0">
              <a:solidFill>
                <a:schemeClr val="accent2"/>
              </a:solidFill>
            </a:endParaRPr>
          </a:p>
          <a:p>
            <a:endParaRPr lang="en-US" dirty="0" smtClean="0"/>
          </a:p>
          <a:p>
            <a:endParaRPr lang="en-US" dirty="0"/>
          </a:p>
        </p:txBody>
      </p:sp>
      <p:grpSp>
        <p:nvGrpSpPr>
          <p:cNvPr id="5" name="Group 4"/>
          <p:cNvGrpSpPr/>
          <p:nvPr/>
        </p:nvGrpSpPr>
        <p:grpSpPr>
          <a:xfrm>
            <a:off x="6345105" y="1210813"/>
            <a:ext cx="2652425" cy="2711946"/>
            <a:chOff x="5217728" y="1084660"/>
            <a:chExt cx="3535646" cy="3615928"/>
          </a:xfrm>
        </p:grpSpPr>
        <p:sp>
          <p:nvSpPr>
            <p:cNvPr id="6" name="Rectangle 5"/>
            <p:cNvSpPr/>
            <p:nvPr>
              <p:custDataLst>
                <p:tags r:id="rId1"/>
              </p:custDataLst>
            </p:nvPr>
          </p:nvSpPr>
          <p:spPr bwMode="auto">
            <a:xfrm>
              <a:off x="5217728" y="1084660"/>
              <a:ext cx="3535646" cy="36159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9" tIns="34295" rIns="68562" bIns="68589" numCol="1" spcCol="0" rtlCol="0" anchor="b" anchorCtr="0" compatLnSpc="1">
              <a:prstTxWarp prst="textNoShape">
                <a:avLst/>
              </a:prstTxWarp>
            </a:bodyPr>
            <a:lstStyle/>
            <a:p>
              <a:pPr algn="ctr" defTabSz="514122" fontAlgn="base">
                <a:spcBef>
                  <a:spcPts val="675"/>
                </a:spcBef>
                <a:spcAft>
                  <a:spcPct val="0"/>
                </a:spcAft>
              </a:pPr>
              <a:r>
                <a:rPr lang="en-US" dirty="0">
                  <a:ln>
                    <a:solidFill>
                      <a:srgbClr val="FFFFFF">
                        <a:alpha val="0"/>
                      </a:srgbClr>
                    </a:solidFill>
                  </a:ln>
                  <a:solidFill>
                    <a:srgbClr val="595959"/>
                  </a:solidFill>
                  <a:latin typeface="Segoe UI Light" pitchFamily="34" charset="0"/>
                </a:rPr>
                <a:t>Corpnet</a:t>
              </a:r>
            </a:p>
          </p:txBody>
        </p:sp>
        <p:sp>
          <p:nvSpPr>
            <p:cNvPr id="7" name="Oval 6"/>
            <p:cNvSpPr/>
            <p:nvPr>
              <p:custDataLst>
                <p:tags r:id="rId2"/>
              </p:custDataLst>
            </p:nvPr>
          </p:nvSpPr>
          <p:spPr bwMode="auto">
            <a:xfrm>
              <a:off x="5753358" y="3008220"/>
              <a:ext cx="2469523" cy="1165860"/>
            </a:xfrm>
            <a:prstGeom prst="ellipse">
              <a:avLst/>
            </a:prstGeom>
            <a:solidFill>
              <a:schemeClr val="bg1"/>
            </a:solidFill>
            <a:ln w="12700">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514296" fontAlgn="base">
                <a:spcBef>
                  <a:spcPct val="0"/>
                </a:spcBef>
                <a:spcAft>
                  <a:spcPct val="0"/>
                </a:spcAft>
              </a:pPr>
              <a:endParaRPr lang="en-US" sz="1300" dirty="0">
                <a:solidFill>
                  <a:srgbClr val="595959"/>
                </a:solidFill>
              </a:endParaRPr>
            </a:p>
          </p:txBody>
        </p:sp>
        <p:grpSp>
          <p:nvGrpSpPr>
            <p:cNvPr id="8" name="Group 7"/>
            <p:cNvGrpSpPr/>
            <p:nvPr/>
          </p:nvGrpSpPr>
          <p:grpSpPr>
            <a:xfrm>
              <a:off x="5838166" y="1136704"/>
              <a:ext cx="2276815" cy="1525628"/>
              <a:chOff x="7479592" y="1494853"/>
              <a:chExt cx="3649895" cy="2446325"/>
            </a:xfrm>
            <a:solidFill>
              <a:schemeClr val="accent6">
                <a:lumMod val="20000"/>
                <a:lumOff val="80000"/>
              </a:schemeClr>
            </a:solidFill>
          </p:grpSpPr>
          <p:sp>
            <p:nvSpPr>
              <p:cNvPr id="42" name="Freeform 6"/>
              <p:cNvSpPr>
                <a:spLocks/>
              </p:cNvSpPr>
              <p:nvPr/>
            </p:nvSpPr>
            <p:spPr bwMode="auto">
              <a:xfrm>
                <a:off x="7479592" y="1494853"/>
                <a:ext cx="3649895" cy="2446325"/>
              </a:xfrm>
              <a:custGeom>
                <a:avLst/>
                <a:gdLst>
                  <a:gd name="T0" fmla="*/ 239 w 276"/>
                  <a:gd name="T1" fmla="*/ 77 h 185"/>
                  <a:gd name="T2" fmla="*/ 240 w 276"/>
                  <a:gd name="T3" fmla="*/ 65 h 185"/>
                  <a:gd name="T4" fmla="*/ 175 w 276"/>
                  <a:gd name="T5" fmla="*/ 0 h 185"/>
                  <a:gd name="T6" fmla="*/ 116 w 276"/>
                  <a:gd name="T7" fmla="*/ 39 h 185"/>
                  <a:gd name="T8" fmla="*/ 81 w 276"/>
                  <a:gd name="T9" fmla="*/ 24 h 185"/>
                  <a:gd name="T10" fmla="*/ 34 w 276"/>
                  <a:gd name="T11" fmla="*/ 71 h 185"/>
                  <a:gd name="T12" fmla="*/ 35 w 276"/>
                  <a:gd name="T13" fmla="*/ 81 h 185"/>
                  <a:gd name="T14" fmla="*/ 0 w 276"/>
                  <a:gd name="T15" fmla="*/ 131 h 185"/>
                  <a:gd name="T16" fmla="*/ 54 w 276"/>
                  <a:gd name="T17" fmla="*/ 185 h 185"/>
                  <a:gd name="T18" fmla="*/ 220 w 276"/>
                  <a:gd name="T19" fmla="*/ 185 h 185"/>
                  <a:gd name="T20" fmla="*/ 276 w 276"/>
                  <a:gd name="T21" fmla="*/ 129 h 185"/>
                  <a:gd name="T22" fmla="*/ 239 w 276"/>
                  <a:gd name="T23" fmla="*/ 77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6" h="185">
                    <a:moveTo>
                      <a:pt x="239" y="77"/>
                    </a:moveTo>
                    <a:cubicBezTo>
                      <a:pt x="239" y="73"/>
                      <a:pt x="240" y="69"/>
                      <a:pt x="240" y="65"/>
                    </a:cubicBezTo>
                    <a:cubicBezTo>
                      <a:pt x="240" y="29"/>
                      <a:pt x="211" y="0"/>
                      <a:pt x="175" y="0"/>
                    </a:cubicBezTo>
                    <a:cubicBezTo>
                      <a:pt x="148" y="0"/>
                      <a:pt x="126" y="16"/>
                      <a:pt x="116" y="39"/>
                    </a:cubicBezTo>
                    <a:cubicBezTo>
                      <a:pt x="107" y="30"/>
                      <a:pt x="95" y="24"/>
                      <a:pt x="81" y="24"/>
                    </a:cubicBezTo>
                    <a:cubicBezTo>
                      <a:pt x="55" y="24"/>
                      <a:pt x="34" y="45"/>
                      <a:pt x="34" y="71"/>
                    </a:cubicBezTo>
                    <a:cubicBezTo>
                      <a:pt x="34" y="74"/>
                      <a:pt x="34" y="78"/>
                      <a:pt x="35" y="81"/>
                    </a:cubicBezTo>
                    <a:cubicBezTo>
                      <a:pt x="14" y="88"/>
                      <a:pt x="0" y="108"/>
                      <a:pt x="0" y="131"/>
                    </a:cubicBezTo>
                    <a:cubicBezTo>
                      <a:pt x="0" y="161"/>
                      <a:pt x="24" y="185"/>
                      <a:pt x="54" y="185"/>
                    </a:cubicBezTo>
                    <a:cubicBezTo>
                      <a:pt x="220" y="185"/>
                      <a:pt x="220" y="185"/>
                      <a:pt x="220" y="185"/>
                    </a:cubicBezTo>
                    <a:cubicBezTo>
                      <a:pt x="251" y="185"/>
                      <a:pt x="276" y="160"/>
                      <a:pt x="276" y="129"/>
                    </a:cubicBezTo>
                    <a:cubicBezTo>
                      <a:pt x="276" y="105"/>
                      <a:pt x="260" y="84"/>
                      <a:pt x="239" y="77"/>
                    </a:cubicBezTo>
                    <a:close/>
                  </a:path>
                </a:pathLst>
              </a:custGeom>
              <a:solidFill>
                <a:schemeClr val="accent2"/>
              </a:solidFill>
              <a:ln>
                <a:noFill/>
              </a:ln>
            </p:spPr>
            <p:txBody>
              <a:bodyPr vert="horz" wrap="square" lIns="82305" tIns="41153" rIns="82305" bIns="41153" numCol="1" anchor="t" anchorCtr="0" compatLnSpc="1">
                <a:prstTxWarp prst="textNoShape">
                  <a:avLst/>
                </a:prstTxWarp>
              </a:bodyPr>
              <a:lstStyle/>
              <a:p>
                <a:pPr defTabSz="685294"/>
                <a:endParaRPr lang="en-US" sz="900" dirty="0">
                  <a:solidFill>
                    <a:srgbClr val="292929"/>
                  </a:solidFill>
                </a:endParaRPr>
              </a:p>
            </p:txBody>
          </p:sp>
          <p:sp>
            <p:nvSpPr>
              <p:cNvPr id="43" name="Rectangle 42"/>
              <p:cNvSpPr/>
              <p:nvPr/>
            </p:nvSpPr>
            <p:spPr>
              <a:xfrm>
                <a:off x="8136586" y="1990104"/>
                <a:ext cx="2470409" cy="559318"/>
              </a:xfrm>
              <a:prstGeom prst="rect">
                <a:avLst/>
              </a:prstGeom>
              <a:noFill/>
            </p:spPr>
            <p:txBody>
              <a:bodyPr wrap="none">
                <a:spAutoFit/>
              </a:bodyPr>
              <a:lstStyle/>
              <a:p>
                <a:pPr algn="ctr" defTabSz="514122" fontAlgn="base">
                  <a:spcBef>
                    <a:spcPts val="675"/>
                  </a:spcBef>
                  <a:spcAft>
                    <a:spcPct val="0"/>
                  </a:spcAft>
                </a:pPr>
                <a:r>
                  <a:rPr lang="en-US" sz="1100" dirty="0">
                    <a:ln>
                      <a:solidFill>
                        <a:srgbClr val="FFFFFF">
                          <a:alpha val="0"/>
                        </a:srgbClr>
                      </a:solidFill>
                    </a:ln>
                    <a:solidFill>
                      <a:srgbClr val="FFFFFF">
                        <a:alpha val="99000"/>
                      </a:srgbClr>
                    </a:solidFill>
                  </a:rPr>
                  <a:t>Windows Azure</a:t>
                </a:r>
              </a:p>
            </p:txBody>
          </p:sp>
        </p:grpSp>
        <p:sp>
          <p:nvSpPr>
            <p:cNvPr id="9" name="Rectangle 8"/>
            <p:cNvSpPr/>
            <p:nvPr>
              <p:custDataLst>
                <p:tags r:id="rId3"/>
              </p:custDataLst>
            </p:nvPr>
          </p:nvSpPr>
          <p:spPr>
            <a:xfrm>
              <a:off x="6062482" y="1769040"/>
              <a:ext cx="1783544" cy="685800"/>
            </a:xfrm>
            <a:prstGeom prst="rect">
              <a:avLst/>
            </a:prstGeom>
            <a:noFill/>
            <a:ln w="19050">
              <a:solidFill>
                <a:schemeClr val="bg1">
                  <a:lumMod val="9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0" name="Rectangle 9"/>
            <p:cNvSpPr/>
            <p:nvPr/>
          </p:nvSpPr>
          <p:spPr>
            <a:xfrm>
              <a:off x="61325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1</a:t>
              </a:r>
            </a:p>
          </p:txBody>
        </p:sp>
        <p:sp>
          <p:nvSpPr>
            <p:cNvPr id="11" name="Rectangle 10"/>
            <p:cNvSpPr/>
            <p:nvPr/>
          </p:nvSpPr>
          <p:spPr>
            <a:xfrm>
              <a:off x="7292117" y="1838342"/>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r>
                <a:rPr lang="en-US" sz="700" dirty="0">
                  <a:ln>
                    <a:solidFill>
                      <a:srgbClr val="FFFFFF">
                        <a:alpha val="0"/>
                      </a:srgbClr>
                    </a:solidFill>
                  </a:ln>
                  <a:solidFill>
                    <a:srgbClr val="FFFFFF"/>
                  </a:solidFill>
                </a:rPr>
                <a:t>VM 2</a:t>
              </a:r>
            </a:p>
          </p:txBody>
        </p:sp>
        <p:sp>
          <p:nvSpPr>
            <p:cNvPr id="12" name="Rectangle 11"/>
            <p:cNvSpPr/>
            <p:nvPr>
              <p:custDataLst>
                <p:tags r:id="rId4"/>
              </p:custDataLst>
            </p:nvPr>
          </p:nvSpPr>
          <p:spPr>
            <a:xfrm>
              <a:off x="6712729" y="2187179"/>
              <a:ext cx="480185" cy="20574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4295" tIns="34295" rIns="34295" bIns="34295" rtlCol="0" anchor="ctr"/>
            <a:lstStyle/>
            <a:p>
              <a:pPr algn="ctr" defTabSz="685294"/>
              <a:r>
                <a:rPr lang="en-US" sz="700" dirty="0">
                  <a:ln>
                    <a:solidFill>
                      <a:srgbClr val="FFFFFF">
                        <a:alpha val="0"/>
                      </a:srgbClr>
                    </a:solidFill>
                  </a:ln>
                  <a:solidFill>
                    <a:srgbClr val="FFFFFF"/>
                  </a:solidFill>
                </a:rPr>
                <a:t>ROLE 1</a:t>
              </a:r>
            </a:p>
          </p:txBody>
        </p:sp>
        <p:cxnSp>
          <p:nvCxnSpPr>
            <p:cNvPr id="13" name="Straight Connector 12"/>
            <p:cNvCxnSpPr>
              <a:stCxn id="10" idx="3"/>
              <a:endCxn id="11" idx="1"/>
            </p:cNvCxnSpPr>
            <p:nvPr>
              <p:custDataLst>
                <p:tags r:id="rId5"/>
              </p:custDataLst>
            </p:nvPr>
          </p:nvCxnSpPr>
          <p:spPr>
            <a:xfrm>
              <a:off x="6612703" y="1941212"/>
              <a:ext cx="67941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p:cNvSpPr/>
            <p:nvPr>
              <p:custDataLst>
                <p:tags r:id="rId6"/>
              </p:custDataLst>
            </p:nvPr>
          </p:nvSpPr>
          <p:spPr>
            <a:xfrm>
              <a:off x="6095348" y="1804052"/>
              <a:ext cx="1714947"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sp>
          <p:nvSpPr>
            <p:cNvPr id="15" name="Rectangle 14"/>
            <p:cNvSpPr/>
            <p:nvPr>
              <p:custDataLst>
                <p:tags r:id="rId7"/>
              </p:custDataLst>
            </p:nvPr>
          </p:nvSpPr>
          <p:spPr>
            <a:xfrm>
              <a:off x="6678430" y="2152889"/>
              <a:ext cx="548783" cy="274320"/>
            </a:xfrm>
            <a:prstGeom prst="rect">
              <a:avLst/>
            </a:prstGeom>
            <a:noFill/>
            <a:ln w="12700">
              <a:solidFill>
                <a:schemeClr val="accent5">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defTabSz="685294"/>
              <a:endParaRPr lang="en-US" sz="1400" dirty="0">
                <a:ln>
                  <a:solidFill>
                    <a:srgbClr val="FFFFFF">
                      <a:alpha val="0"/>
                    </a:srgbClr>
                  </a:solidFill>
                </a:ln>
                <a:solidFill>
                  <a:srgbClr val="FFFFFF"/>
                </a:solidFill>
              </a:endParaRPr>
            </a:p>
          </p:txBody>
        </p:sp>
        <p:cxnSp>
          <p:nvCxnSpPr>
            <p:cNvPr id="16" name="Straight Connector 117"/>
            <p:cNvCxnSpPr>
              <a:stCxn id="10" idx="2"/>
              <a:endCxn id="12" idx="0"/>
            </p:cNvCxnSpPr>
            <p:nvPr>
              <p:custDataLst>
                <p:tags r:id="rId8"/>
              </p:custDataLst>
            </p:nvPr>
          </p:nvCxnSpPr>
          <p:spPr>
            <a:xfrm rot="16200000" flipH="1">
              <a:off x="6591168" y="1825524"/>
              <a:ext cx="143096" cy="580212"/>
            </a:xfrm>
            <a:prstGeom prst="bentConnector3">
              <a:avLst>
                <a:gd name="adj1" fmla="val 50000"/>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6065459" y="2231001"/>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2</a:t>
              </a:r>
            </a:p>
          </p:txBody>
        </p:sp>
        <p:sp>
          <p:nvSpPr>
            <p:cNvPr id="18" name="Rectangle 17"/>
            <p:cNvSpPr/>
            <p:nvPr/>
          </p:nvSpPr>
          <p:spPr>
            <a:xfrm>
              <a:off x="7255077" y="2042896"/>
              <a:ext cx="586358" cy="215457"/>
            </a:xfrm>
            <a:prstGeom prst="rect">
              <a:avLst/>
            </a:prstGeom>
          </p:spPr>
          <p:txBody>
            <a:bodyPr wrap="none" lIns="68589" tIns="34295" rIns="68589" bIns="34295">
              <a:spAutoFit/>
            </a:bodyPr>
            <a:lstStyle/>
            <a:p>
              <a:pPr algn="ctr" defTabSz="514122" fontAlgn="base">
                <a:spcBef>
                  <a:spcPts val="675"/>
                </a:spcBef>
                <a:spcAft>
                  <a:spcPct val="0"/>
                </a:spcAft>
              </a:pPr>
              <a:r>
                <a:rPr lang="en-US" sz="600" dirty="0">
                  <a:ln>
                    <a:solidFill>
                      <a:srgbClr val="FFFFFF">
                        <a:alpha val="0"/>
                      </a:srgbClr>
                    </a:solidFill>
                  </a:ln>
                  <a:solidFill>
                    <a:srgbClr val="595959"/>
                  </a:solidFill>
                </a:rPr>
                <a:t>Subnet 1</a:t>
              </a:r>
            </a:p>
          </p:txBody>
        </p:sp>
        <p:cxnSp>
          <p:nvCxnSpPr>
            <p:cNvPr id="19" name="Straight Arrow Connector 18"/>
            <p:cNvCxnSpPr/>
            <p:nvPr/>
          </p:nvCxnSpPr>
          <p:spPr>
            <a:xfrm flipV="1">
              <a:off x="7051842" y="2537116"/>
              <a:ext cx="285072" cy="404852"/>
            </a:xfrm>
            <a:prstGeom prst="straightConnector1">
              <a:avLst/>
            </a:prstGeom>
            <a:ln w="19050">
              <a:solidFill>
                <a:schemeClr val="tx2"/>
              </a:solidFill>
              <a:headEnd type="triangle"/>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a:off x="6052165" y="3107532"/>
              <a:ext cx="1082728" cy="313808"/>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H="1">
              <a:off x="6386346" y="3086101"/>
              <a:ext cx="702100" cy="531719"/>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6696458" y="3067050"/>
              <a:ext cx="391988" cy="64125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7049146" y="3134321"/>
              <a:ext cx="397357" cy="1390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flipH="1">
              <a:off x="7241049" y="3421340"/>
              <a:ext cx="183643" cy="286967"/>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7432305" y="3421339"/>
              <a:ext cx="357533" cy="169811"/>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432305" y="3421340"/>
              <a:ext cx="100649" cy="232186"/>
            </a:xfrm>
            <a:prstGeom prst="line">
              <a:avLst/>
            </a:prstGeom>
            <a:ln w="1905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Freeform 6"/>
            <p:cNvSpPr>
              <a:spLocks noEditPoints="1"/>
            </p:cNvSpPr>
            <p:nvPr/>
          </p:nvSpPr>
          <p:spPr bwMode="auto">
            <a:xfrm>
              <a:off x="5855848" y="33856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8" name="Freeform 6"/>
            <p:cNvSpPr>
              <a:spLocks noEditPoints="1"/>
            </p:cNvSpPr>
            <p:nvPr/>
          </p:nvSpPr>
          <p:spPr bwMode="auto">
            <a:xfrm>
              <a:off x="6201219" y="3623770"/>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29" name="Freeform 6"/>
            <p:cNvSpPr>
              <a:spLocks noEditPoints="1"/>
            </p:cNvSpPr>
            <p:nvPr/>
          </p:nvSpPr>
          <p:spPr bwMode="auto">
            <a:xfrm>
              <a:off x="6577555"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0" name="Freeform 6"/>
            <p:cNvSpPr>
              <a:spLocks noEditPoints="1"/>
            </p:cNvSpPr>
            <p:nvPr/>
          </p:nvSpPr>
          <p:spPr bwMode="auto">
            <a:xfrm>
              <a:off x="7130149" y="3728545"/>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1" name="Freeform 6"/>
            <p:cNvSpPr>
              <a:spLocks noEditPoints="1"/>
            </p:cNvSpPr>
            <p:nvPr/>
          </p:nvSpPr>
          <p:spPr bwMode="auto">
            <a:xfrm>
              <a:off x="7525539" y="3659489"/>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32" name="Freeform 6"/>
            <p:cNvSpPr>
              <a:spLocks noEditPoints="1"/>
            </p:cNvSpPr>
            <p:nvPr/>
          </p:nvSpPr>
          <p:spPr bwMode="auto">
            <a:xfrm>
              <a:off x="7801836" y="3549952"/>
              <a:ext cx="181751" cy="308303"/>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grpSp>
          <p:nvGrpSpPr>
            <p:cNvPr id="33" name="Group 32"/>
            <p:cNvGrpSpPr/>
            <p:nvPr/>
          </p:nvGrpSpPr>
          <p:grpSpPr>
            <a:xfrm>
              <a:off x="6694831" y="2958005"/>
              <a:ext cx="674676" cy="186906"/>
              <a:chOff x="8924116" y="3944007"/>
              <a:chExt cx="899334" cy="249208"/>
            </a:xfrm>
          </p:grpSpPr>
          <p:sp>
            <p:nvSpPr>
              <p:cNvPr id="40" name="Rectangle 39"/>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41"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4" name="Group 33"/>
            <p:cNvGrpSpPr/>
            <p:nvPr/>
          </p:nvGrpSpPr>
          <p:grpSpPr>
            <a:xfrm>
              <a:off x="7159701" y="3272206"/>
              <a:ext cx="559535" cy="155009"/>
              <a:chOff x="8924116" y="3944007"/>
              <a:chExt cx="899334" cy="249208"/>
            </a:xfrm>
          </p:grpSpPr>
          <p:sp>
            <p:nvSpPr>
              <p:cNvPr id="38" name="Rectangle 37"/>
              <p:cNvSpPr/>
              <p:nvPr/>
            </p:nvSpPr>
            <p:spPr bwMode="auto">
              <a:xfrm>
                <a:off x="8963025" y="3976688"/>
                <a:ext cx="802481" cy="19288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9"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rgbClr val="595959"/>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nvGrpSpPr>
            <p:cNvPr id="35" name="Group 34"/>
            <p:cNvGrpSpPr/>
            <p:nvPr/>
          </p:nvGrpSpPr>
          <p:grpSpPr>
            <a:xfrm>
              <a:off x="7314120" y="2390457"/>
              <a:ext cx="426962" cy="118281"/>
              <a:chOff x="8924116" y="3944007"/>
              <a:chExt cx="899334" cy="249208"/>
            </a:xfrm>
          </p:grpSpPr>
          <p:sp>
            <p:nvSpPr>
              <p:cNvPr id="36" name="Rectangle 35"/>
              <p:cNvSpPr/>
              <p:nvPr/>
            </p:nvSpPr>
            <p:spPr bwMode="auto">
              <a:xfrm>
                <a:off x="8963025" y="3976688"/>
                <a:ext cx="802481" cy="1928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514296" fontAlgn="base">
                  <a:spcBef>
                    <a:spcPct val="0"/>
                  </a:spcBef>
                  <a:spcAft>
                    <a:spcPct val="0"/>
                  </a:spcAft>
                </a:pPr>
                <a:endParaRPr lang="en-US" sz="1300" dirty="0">
                  <a:gradFill>
                    <a:gsLst>
                      <a:gs pos="0">
                        <a:srgbClr val="FFFFFF"/>
                      </a:gs>
                      <a:gs pos="100000">
                        <a:srgbClr val="FFFFFF"/>
                      </a:gs>
                    </a:gsLst>
                    <a:lin ang="5400000" scaled="0"/>
                  </a:gradFill>
                </a:endParaRPr>
              </a:p>
            </p:txBody>
          </p:sp>
          <p:sp>
            <p:nvSpPr>
              <p:cNvPr id="37" name="Freeform 6"/>
              <p:cNvSpPr>
                <a:spLocks noEditPoints="1"/>
              </p:cNvSpPr>
              <p:nvPr/>
            </p:nvSpPr>
            <p:spPr bwMode="auto">
              <a:xfrm>
                <a:off x="8924116" y="3944007"/>
                <a:ext cx="899334" cy="249208"/>
              </a:xfrm>
              <a:custGeom>
                <a:avLst/>
                <a:gdLst>
                  <a:gd name="T0" fmla="*/ 2234 w 2234"/>
                  <a:gd name="T1" fmla="*/ 479 h 619"/>
                  <a:gd name="T2" fmla="*/ 143 w 2234"/>
                  <a:gd name="T3" fmla="*/ 0 h 619"/>
                  <a:gd name="T4" fmla="*/ 143 w 2234"/>
                  <a:gd name="T5" fmla="*/ 619 h 619"/>
                  <a:gd name="T6" fmla="*/ 1927 w 2234"/>
                  <a:gd name="T7" fmla="*/ 422 h 619"/>
                  <a:gd name="T8" fmla="*/ 1125 w 2234"/>
                  <a:gd name="T9" fmla="*/ 114 h 619"/>
                  <a:gd name="T10" fmla="*/ 1125 w 2234"/>
                  <a:gd name="T11" fmla="*/ 202 h 619"/>
                  <a:gd name="T12" fmla="*/ 1125 w 2234"/>
                  <a:gd name="T13" fmla="*/ 270 h 619"/>
                  <a:gd name="T14" fmla="*/ 1125 w 2234"/>
                  <a:gd name="T15" fmla="*/ 358 h 619"/>
                  <a:gd name="T16" fmla="*/ 1125 w 2234"/>
                  <a:gd name="T17" fmla="*/ 419 h 619"/>
                  <a:gd name="T18" fmla="*/ 1125 w 2234"/>
                  <a:gd name="T19" fmla="*/ 507 h 619"/>
                  <a:gd name="T20" fmla="*/ 959 w 2234"/>
                  <a:gd name="T21" fmla="*/ 114 h 619"/>
                  <a:gd name="T22" fmla="*/ 959 w 2234"/>
                  <a:gd name="T23" fmla="*/ 202 h 619"/>
                  <a:gd name="T24" fmla="*/ 959 w 2234"/>
                  <a:gd name="T25" fmla="*/ 270 h 619"/>
                  <a:gd name="T26" fmla="*/ 959 w 2234"/>
                  <a:gd name="T27" fmla="*/ 358 h 619"/>
                  <a:gd name="T28" fmla="*/ 959 w 2234"/>
                  <a:gd name="T29" fmla="*/ 419 h 619"/>
                  <a:gd name="T30" fmla="*/ 959 w 2234"/>
                  <a:gd name="T31" fmla="*/ 507 h 619"/>
                  <a:gd name="T32" fmla="*/ 796 w 2234"/>
                  <a:gd name="T33" fmla="*/ 114 h 619"/>
                  <a:gd name="T34" fmla="*/ 796 w 2234"/>
                  <a:gd name="T35" fmla="*/ 202 h 619"/>
                  <a:gd name="T36" fmla="*/ 796 w 2234"/>
                  <a:gd name="T37" fmla="*/ 270 h 619"/>
                  <a:gd name="T38" fmla="*/ 796 w 2234"/>
                  <a:gd name="T39" fmla="*/ 358 h 619"/>
                  <a:gd name="T40" fmla="*/ 796 w 2234"/>
                  <a:gd name="T41" fmla="*/ 419 h 619"/>
                  <a:gd name="T42" fmla="*/ 796 w 2234"/>
                  <a:gd name="T43" fmla="*/ 507 h 619"/>
                  <a:gd name="T44" fmla="*/ 633 w 2234"/>
                  <a:gd name="T45" fmla="*/ 114 h 619"/>
                  <a:gd name="T46" fmla="*/ 633 w 2234"/>
                  <a:gd name="T47" fmla="*/ 202 h 619"/>
                  <a:gd name="T48" fmla="*/ 633 w 2234"/>
                  <a:gd name="T49" fmla="*/ 270 h 619"/>
                  <a:gd name="T50" fmla="*/ 633 w 2234"/>
                  <a:gd name="T51" fmla="*/ 358 h 619"/>
                  <a:gd name="T52" fmla="*/ 633 w 2234"/>
                  <a:gd name="T53" fmla="*/ 419 h 619"/>
                  <a:gd name="T54" fmla="*/ 633 w 2234"/>
                  <a:gd name="T55" fmla="*/ 507 h 619"/>
                  <a:gd name="T56" fmla="*/ 467 w 2234"/>
                  <a:gd name="T57" fmla="*/ 114 h 619"/>
                  <a:gd name="T58" fmla="*/ 467 w 2234"/>
                  <a:gd name="T59" fmla="*/ 202 h 619"/>
                  <a:gd name="T60" fmla="*/ 467 w 2234"/>
                  <a:gd name="T61" fmla="*/ 270 h 619"/>
                  <a:gd name="T62" fmla="*/ 467 w 2234"/>
                  <a:gd name="T63" fmla="*/ 358 h 619"/>
                  <a:gd name="T64" fmla="*/ 467 w 2234"/>
                  <a:gd name="T65" fmla="*/ 419 h 619"/>
                  <a:gd name="T66" fmla="*/ 467 w 2234"/>
                  <a:gd name="T67" fmla="*/ 507 h 619"/>
                  <a:gd name="T68" fmla="*/ 302 w 2234"/>
                  <a:gd name="T69" fmla="*/ 114 h 619"/>
                  <a:gd name="T70" fmla="*/ 302 w 2234"/>
                  <a:gd name="T71" fmla="*/ 202 h 619"/>
                  <a:gd name="T72" fmla="*/ 302 w 2234"/>
                  <a:gd name="T73" fmla="*/ 270 h 619"/>
                  <a:gd name="T74" fmla="*/ 302 w 2234"/>
                  <a:gd name="T75" fmla="*/ 358 h 619"/>
                  <a:gd name="T76" fmla="*/ 302 w 2234"/>
                  <a:gd name="T77" fmla="*/ 419 h 619"/>
                  <a:gd name="T78" fmla="*/ 302 w 2234"/>
                  <a:gd name="T79" fmla="*/ 507 h 619"/>
                  <a:gd name="T80" fmla="*/ 139 w 2234"/>
                  <a:gd name="T81" fmla="*/ 114 h 619"/>
                  <a:gd name="T82" fmla="*/ 139 w 2234"/>
                  <a:gd name="T83" fmla="*/ 202 h 619"/>
                  <a:gd name="T84" fmla="*/ 139 w 2234"/>
                  <a:gd name="T85" fmla="*/ 270 h 619"/>
                  <a:gd name="T86" fmla="*/ 139 w 2234"/>
                  <a:gd name="T87" fmla="*/ 358 h 619"/>
                  <a:gd name="T88" fmla="*/ 139 w 2234"/>
                  <a:gd name="T89" fmla="*/ 419 h 619"/>
                  <a:gd name="T90" fmla="*/ 139 w 2234"/>
                  <a:gd name="T91" fmla="*/ 507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34" h="619">
                    <a:moveTo>
                      <a:pt x="143" y="619"/>
                    </a:moveTo>
                    <a:cubicBezTo>
                      <a:pt x="2091" y="619"/>
                      <a:pt x="2091" y="619"/>
                      <a:pt x="2091" y="619"/>
                    </a:cubicBezTo>
                    <a:cubicBezTo>
                      <a:pt x="2170" y="619"/>
                      <a:pt x="2234" y="558"/>
                      <a:pt x="2234" y="479"/>
                    </a:cubicBezTo>
                    <a:cubicBezTo>
                      <a:pt x="2234" y="143"/>
                      <a:pt x="2234" y="143"/>
                      <a:pt x="2234" y="143"/>
                    </a:cubicBezTo>
                    <a:cubicBezTo>
                      <a:pt x="2234" y="64"/>
                      <a:pt x="2170" y="0"/>
                      <a:pt x="2091" y="0"/>
                    </a:cubicBezTo>
                    <a:cubicBezTo>
                      <a:pt x="143" y="0"/>
                      <a:pt x="143" y="0"/>
                      <a:pt x="143" y="0"/>
                    </a:cubicBezTo>
                    <a:cubicBezTo>
                      <a:pt x="64" y="0"/>
                      <a:pt x="0" y="64"/>
                      <a:pt x="0" y="143"/>
                    </a:cubicBezTo>
                    <a:cubicBezTo>
                      <a:pt x="0" y="479"/>
                      <a:pt x="0" y="479"/>
                      <a:pt x="0" y="479"/>
                    </a:cubicBezTo>
                    <a:cubicBezTo>
                      <a:pt x="0" y="558"/>
                      <a:pt x="64" y="619"/>
                      <a:pt x="143" y="619"/>
                    </a:cubicBezTo>
                    <a:close/>
                    <a:moveTo>
                      <a:pt x="1927" y="198"/>
                    </a:moveTo>
                    <a:cubicBezTo>
                      <a:pt x="1989" y="198"/>
                      <a:pt x="2040" y="248"/>
                      <a:pt x="2040" y="310"/>
                    </a:cubicBezTo>
                    <a:cubicBezTo>
                      <a:pt x="2040" y="373"/>
                      <a:pt x="1989" y="422"/>
                      <a:pt x="1927" y="422"/>
                    </a:cubicBezTo>
                    <a:cubicBezTo>
                      <a:pt x="1866" y="422"/>
                      <a:pt x="1815" y="373"/>
                      <a:pt x="1815" y="310"/>
                    </a:cubicBezTo>
                    <a:cubicBezTo>
                      <a:pt x="1815" y="248"/>
                      <a:pt x="1866" y="198"/>
                      <a:pt x="1927" y="198"/>
                    </a:cubicBezTo>
                    <a:close/>
                    <a:moveTo>
                      <a:pt x="1125" y="114"/>
                    </a:moveTo>
                    <a:cubicBezTo>
                      <a:pt x="1213" y="114"/>
                      <a:pt x="1213" y="114"/>
                      <a:pt x="1213" y="114"/>
                    </a:cubicBezTo>
                    <a:cubicBezTo>
                      <a:pt x="1213" y="202"/>
                      <a:pt x="1213" y="202"/>
                      <a:pt x="1213" y="202"/>
                    </a:cubicBezTo>
                    <a:cubicBezTo>
                      <a:pt x="1125" y="202"/>
                      <a:pt x="1125" y="202"/>
                      <a:pt x="1125" y="202"/>
                    </a:cubicBezTo>
                    <a:cubicBezTo>
                      <a:pt x="1125" y="114"/>
                      <a:pt x="1125" y="114"/>
                      <a:pt x="1125" y="114"/>
                    </a:cubicBezTo>
                    <a:cubicBezTo>
                      <a:pt x="1125" y="114"/>
                      <a:pt x="1125" y="114"/>
                      <a:pt x="1125" y="114"/>
                    </a:cubicBezTo>
                    <a:close/>
                    <a:moveTo>
                      <a:pt x="1125" y="270"/>
                    </a:moveTo>
                    <a:cubicBezTo>
                      <a:pt x="1213" y="270"/>
                      <a:pt x="1213" y="270"/>
                      <a:pt x="1213" y="270"/>
                    </a:cubicBezTo>
                    <a:cubicBezTo>
                      <a:pt x="1213" y="358"/>
                      <a:pt x="1213" y="358"/>
                      <a:pt x="1213" y="358"/>
                    </a:cubicBezTo>
                    <a:cubicBezTo>
                      <a:pt x="1125" y="358"/>
                      <a:pt x="1125" y="358"/>
                      <a:pt x="1125" y="358"/>
                    </a:cubicBezTo>
                    <a:cubicBezTo>
                      <a:pt x="1125" y="270"/>
                      <a:pt x="1125" y="270"/>
                      <a:pt x="1125" y="270"/>
                    </a:cubicBezTo>
                    <a:cubicBezTo>
                      <a:pt x="1125" y="270"/>
                      <a:pt x="1125" y="270"/>
                      <a:pt x="1125" y="270"/>
                    </a:cubicBezTo>
                    <a:close/>
                    <a:moveTo>
                      <a:pt x="1125" y="419"/>
                    </a:moveTo>
                    <a:cubicBezTo>
                      <a:pt x="1213" y="419"/>
                      <a:pt x="1213" y="419"/>
                      <a:pt x="1213" y="419"/>
                    </a:cubicBezTo>
                    <a:cubicBezTo>
                      <a:pt x="1213" y="507"/>
                      <a:pt x="1213" y="507"/>
                      <a:pt x="1213" y="507"/>
                    </a:cubicBezTo>
                    <a:cubicBezTo>
                      <a:pt x="1125" y="507"/>
                      <a:pt x="1125" y="507"/>
                      <a:pt x="1125" y="507"/>
                    </a:cubicBezTo>
                    <a:cubicBezTo>
                      <a:pt x="1125" y="419"/>
                      <a:pt x="1125" y="419"/>
                      <a:pt x="1125" y="419"/>
                    </a:cubicBezTo>
                    <a:cubicBezTo>
                      <a:pt x="1125" y="419"/>
                      <a:pt x="1125" y="419"/>
                      <a:pt x="1125" y="419"/>
                    </a:cubicBezTo>
                    <a:close/>
                    <a:moveTo>
                      <a:pt x="959" y="114"/>
                    </a:moveTo>
                    <a:cubicBezTo>
                      <a:pt x="1050" y="114"/>
                      <a:pt x="1050" y="114"/>
                      <a:pt x="1050" y="114"/>
                    </a:cubicBezTo>
                    <a:cubicBezTo>
                      <a:pt x="1050" y="202"/>
                      <a:pt x="1050" y="202"/>
                      <a:pt x="1050" y="202"/>
                    </a:cubicBezTo>
                    <a:cubicBezTo>
                      <a:pt x="959" y="202"/>
                      <a:pt x="959" y="202"/>
                      <a:pt x="959" y="202"/>
                    </a:cubicBezTo>
                    <a:cubicBezTo>
                      <a:pt x="959" y="114"/>
                      <a:pt x="959" y="114"/>
                      <a:pt x="959" y="114"/>
                    </a:cubicBezTo>
                    <a:cubicBezTo>
                      <a:pt x="959" y="114"/>
                      <a:pt x="959" y="114"/>
                      <a:pt x="959" y="114"/>
                    </a:cubicBezTo>
                    <a:close/>
                    <a:moveTo>
                      <a:pt x="959" y="270"/>
                    </a:moveTo>
                    <a:cubicBezTo>
                      <a:pt x="1050" y="270"/>
                      <a:pt x="1050" y="270"/>
                      <a:pt x="1050" y="270"/>
                    </a:cubicBezTo>
                    <a:cubicBezTo>
                      <a:pt x="1050" y="358"/>
                      <a:pt x="1050" y="358"/>
                      <a:pt x="1050" y="358"/>
                    </a:cubicBezTo>
                    <a:cubicBezTo>
                      <a:pt x="959" y="358"/>
                      <a:pt x="959" y="358"/>
                      <a:pt x="959" y="358"/>
                    </a:cubicBezTo>
                    <a:cubicBezTo>
                      <a:pt x="959" y="270"/>
                      <a:pt x="959" y="270"/>
                      <a:pt x="959" y="270"/>
                    </a:cubicBezTo>
                    <a:cubicBezTo>
                      <a:pt x="959" y="270"/>
                      <a:pt x="959" y="270"/>
                      <a:pt x="959" y="270"/>
                    </a:cubicBezTo>
                    <a:close/>
                    <a:moveTo>
                      <a:pt x="959" y="419"/>
                    </a:moveTo>
                    <a:cubicBezTo>
                      <a:pt x="1050" y="419"/>
                      <a:pt x="1050" y="419"/>
                      <a:pt x="1050" y="419"/>
                    </a:cubicBezTo>
                    <a:cubicBezTo>
                      <a:pt x="1050" y="507"/>
                      <a:pt x="1050" y="507"/>
                      <a:pt x="1050" y="507"/>
                    </a:cubicBezTo>
                    <a:cubicBezTo>
                      <a:pt x="959" y="507"/>
                      <a:pt x="959" y="507"/>
                      <a:pt x="959" y="507"/>
                    </a:cubicBezTo>
                    <a:cubicBezTo>
                      <a:pt x="959" y="419"/>
                      <a:pt x="959" y="419"/>
                      <a:pt x="959" y="419"/>
                    </a:cubicBezTo>
                    <a:cubicBezTo>
                      <a:pt x="959" y="419"/>
                      <a:pt x="959" y="419"/>
                      <a:pt x="959" y="419"/>
                    </a:cubicBezTo>
                    <a:close/>
                    <a:moveTo>
                      <a:pt x="796" y="114"/>
                    </a:moveTo>
                    <a:cubicBezTo>
                      <a:pt x="886" y="114"/>
                      <a:pt x="886" y="114"/>
                      <a:pt x="886" y="114"/>
                    </a:cubicBezTo>
                    <a:cubicBezTo>
                      <a:pt x="886" y="202"/>
                      <a:pt x="886" y="202"/>
                      <a:pt x="886" y="202"/>
                    </a:cubicBezTo>
                    <a:cubicBezTo>
                      <a:pt x="796" y="202"/>
                      <a:pt x="796" y="202"/>
                      <a:pt x="796" y="202"/>
                    </a:cubicBezTo>
                    <a:cubicBezTo>
                      <a:pt x="796" y="114"/>
                      <a:pt x="796" y="114"/>
                      <a:pt x="796" y="114"/>
                    </a:cubicBezTo>
                    <a:cubicBezTo>
                      <a:pt x="796" y="114"/>
                      <a:pt x="796" y="114"/>
                      <a:pt x="796" y="114"/>
                    </a:cubicBezTo>
                    <a:close/>
                    <a:moveTo>
                      <a:pt x="796" y="270"/>
                    </a:moveTo>
                    <a:cubicBezTo>
                      <a:pt x="886" y="270"/>
                      <a:pt x="886" y="270"/>
                      <a:pt x="886" y="270"/>
                    </a:cubicBezTo>
                    <a:cubicBezTo>
                      <a:pt x="886" y="358"/>
                      <a:pt x="886" y="358"/>
                      <a:pt x="886" y="358"/>
                    </a:cubicBezTo>
                    <a:cubicBezTo>
                      <a:pt x="796" y="358"/>
                      <a:pt x="796" y="358"/>
                      <a:pt x="796" y="358"/>
                    </a:cubicBezTo>
                    <a:cubicBezTo>
                      <a:pt x="796" y="270"/>
                      <a:pt x="796" y="270"/>
                      <a:pt x="796" y="270"/>
                    </a:cubicBezTo>
                    <a:cubicBezTo>
                      <a:pt x="796" y="270"/>
                      <a:pt x="796" y="270"/>
                      <a:pt x="796" y="270"/>
                    </a:cubicBezTo>
                    <a:close/>
                    <a:moveTo>
                      <a:pt x="796" y="419"/>
                    </a:moveTo>
                    <a:cubicBezTo>
                      <a:pt x="886" y="419"/>
                      <a:pt x="886" y="419"/>
                      <a:pt x="886" y="419"/>
                    </a:cubicBezTo>
                    <a:cubicBezTo>
                      <a:pt x="886" y="507"/>
                      <a:pt x="886" y="507"/>
                      <a:pt x="886" y="507"/>
                    </a:cubicBezTo>
                    <a:cubicBezTo>
                      <a:pt x="796" y="507"/>
                      <a:pt x="796" y="507"/>
                      <a:pt x="796" y="507"/>
                    </a:cubicBezTo>
                    <a:cubicBezTo>
                      <a:pt x="796" y="419"/>
                      <a:pt x="796" y="419"/>
                      <a:pt x="796" y="419"/>
                    </a:cubicBezTo>
                    <a:cubicBezTo>
                      <a:pt x="796" y="419"/>
                      <a:pt x="796" y="419"/>
                      <a:pt x="796" y="419"/>
                    </a:cubicBezTo>
                    <a:close/>
                    <a:moveTo>
                      <a:pt x="633" y="114"/>
                    </a:moveTo>
                    <a:cubicBezTo>
                      <a:pt x="721" y="114"/>
                      <a:pt x="721" y="114"/>
                      <a:pt x="721" y="114"/>
                    </a:cubicBezTo>
                    <a:cubicBezTo>
                      <a:pt x="721" y="202"/>
                      <a:pt x="721" y="202"/>
                      <a:pt x="721" y="202"/>
                    </a:cubicBezTo>
                    <a:cubicBezTo>
                      <a:pt x="633" y="202"/>
                      <a:pt x="633" y="202"/>
                      <a:pt x="633" y="202"/>
                    </a:cubicBezTo>
                    <a:cubicBezTo>
                      <a:pt x="633" y="114"/>
                      <a:pt x="633" y="114"/>
                      <a:pt x="633" y="114"/>
                    </a:cubicBezTo>
                    <a:cubicBezTo>
                      <a:pt x="633" y="114"/>
                      <a:pt x="633" y="114"/>
                      <a:pt x="633" y="114"/>
                    </a:cubicBezTo>
                    <a:close/>
                    <a:moveTo>
                      <a:pt x="633" y="270"/>
                    </a:moveTo>
                    <a:cubicBezTo>
                      <a:pt x="721" y="270"/>
                      <a:pt x="721" y="270"/>
                      <a:pt x="721" y="270"/>
                    </a:cubicBezTo>
                    <a:cubicBezTo>
                      <a:pt x="721" y="358"/>
                      <a:pt x="721" y="358"/>
                      <a:pt x="721" y="358"/>
                    </a:cubicBezTo>
                    <a:cubicBezTo>
                      <a:pt x="633" y="358"/>
                      <a:pt x="633" y="358"/>
                      <a:pt x="633" y="358"/>
                    </a:cubicBezTo>
                    <a:cubicBezTo>
                      <a:pt x="633" y="270"/>
                      <a:pt x="633" y="270"/>
                      <a:pt x="633" y="270"/>
                    </a:cubicBezTo>
                    <a:cubicBezTo>
                      <a:pt x="633" y="270"/>
                      <a:pt x="633" y="270"/>
                      <a:pt x="633" y="270"/>
                    </a:cubicBezTo>
                    <a:close/>
                    <a:moveTo>
                      <a:pt x="633" y="419"/>
                    </a:moveTo>
                    <a:cubicBezTo>
                      <a:pt x="721" y="419"/>
                      <a:pt x="721" y="419"/>
                      <a:pt x="721" y="419"/>
                    </a:cubicBezTo>
                    <a:cubicBezTo>
                      <a:pt x="721" y="507"/>
                      <a:pt x="721" y="507"/>
                      <a:pt x="721" y="507"/>
                    </a:cubicBezTo>
                    <a:cubicBezTo>
                      <a:pt x="633" y="507"/>
                      <a:pt x="633" y="507"/>
                      <a:pt x="633" y="507"/>
                    </a:cubicBezTo>
                    <a:cubicBezTo>
                      <a:pt x="633" y="419"/>
                      <a:pt x="633" y="419"/>
                      <a:pt x="633" y="419"/>
                    </a:cubicBezTo>
                    <a:cubicBezTo>
                      <a:pt x="633" y="419"/>
                      <a:pt x="633" y="419"/>
                      <a:pt x="633" y="419"/>
                    </a:cubicBezTo>
                    <a:close/>
                    <a:moveTo>
                      <a:pt x="467" y="114"/>
                    </a:moveTo>
                    <a:cubicBezTo>
                      <a:pt x="556" y="114"/>
                      <a:pt x="556" y="114"/>
                      <a:pt x="556" y="114"/>
                    </a:cubicBezTo>
                    <a:cubicBezTo>
                      <a:pt x="556" y="202"/>
                      <a:pt x="556" y="202"/>
                      <a:pt x="556" y="202"/>
                    </a:cubicBezTo>
                    <a:cubicBezTo>
                      <a:pt x="467" y="202"/>
                      <a:pt x="467" y="202"/>
                      <a:pt x="467" y="202"/>
                    </a:cubicBezTo>
                    <a:cubicBezTo>
                      <a:pt x="467" y="114"/>
                      <a:pt x="467" y="114"/>
                      <a:pt x="467" y="114"/>
                    </a:cubicBezTo>
                    <a:cubicBezTo>
                      <a:pt x="467" y="114"/>
                      <a:pt x="467" y="114"/>
                      <a:pt x="467" y="114"/>
                    </a:cubicBezTo>
                    <a:close/>
                    <a:moveTo>
                      <a:pt x="467" y="270"/>
                    </a:moveTo>
                    <a:cubicBezTo>
                      <a:pt x="556" y="270"/>
                      <a:pt x="556" y="270"/>
                      <a:pt x="556" y="270"/>
                    </a:cubicBezTo>
                    <a:cubicBezTo>
                      <a:pt x="556" y="358"/>
                      <a:pt x="556" y="358"/>
                      <a:pt x="556" y="358"/>
                    </a:cubicBezTo>
                    <a:cubicBezTo>
                      <a:pt x="467" y="358"/>
                      <a:pt x="467" y="358"/>
                      <a:pt x="467" y="358"/>
                    </a:cubicBezTo>
                    <a:cubicBezTo>
                      <a:pt x="467" y="270"/>
                      <a:pt x="467" y="270"/>
                      <a:pt x="467" y="270"/>
                    </a:cubicBezTo>
                    <a:cubicBezTo>
                      <a:pt x="467" y="270"/>
                      <a:pt x="467" y="270"/>
                      <a:pt x="467" y="270"/>
                    </a:cubicBezTo>
                    <a:close/>
                    <a:moveTo>
                      <a:pt x="467" y="419"/>
                    </a:moveTo>
                    <a:cubicBezTo>
                      <a:pt x="556" y="419"/>
                      <a:pt x="556" y="419"/>
                      <a:pt x="556" y="419"/>
                    </a:cubicBezTo>
                    <a:cubicBezTo>
                      <a:pt x="556" y="507"/>
                      <a:pt x="556" y="507"/>
                      <a:pt x="556" y="507"/>
                    </a:cubicBezTo>
                    <a:cubicBezTo>
                      <a:pt x="467" y="507"/>
                      <a:pt x="467" y="507"/>
                      <a:pt x="467" y="507"/>
                    </a:cubicBezTo>
                    <a:cubicBezTo>
                      <a:pt x="467" y="419"/>
                      <a:pt x="467" y="419"/>
                      <a:pt x="467" y="419"/>
                    </a:cubicBezTo>
                    <a:cubicBezTo>
                      <a:pt x="467" y="419"/>
                      <a:pt x="467" y="419"/>
                      <a:pt x="467" y="419"/>
                    </a:cubicBezTo>
                    <a:close/>
                    <a:moveTo>
                      <a:pt x="302" y="114"/>
                    </a:moveTo>
                    <a:cubicBezTo>
                      <a:pt x="392" y="114"/>
                      <a:pt x="392" y="114"/>
                      <a:pt x="392" y="114"/>
                    </a:cubicBezTo>
                    <a:cubicBezTo>
                      <a:pt x="392" y="202"/>
                      <a:pt x="392" y="202"/>
                      <a:pt x="392" y="202"/>
                    </a:cubicBezTo>
                    <a:cubicBezTo>
                      <a:pt x="302" y="202"/>
                      <a:pt x="302" y="202"/>
                      <a:pt x="302" y="202"/>
                    </a:cubicBezTo>
                    <a:cubicBezTo>
                      <a:pt x="302" y="114"/>
                      <a:pt x="302" y="114"/>
                      <a:pt x="302" y="114"/>
                    </a:cubicBezTo>
                    <a:cubicBezTo>
                      <a:pt x="302" y="114"/>
                      <a:pt x="302" y="114"/>
                      <a:pt x="302" y="114"/>
                    </a:cubicBezTo>
                    <a:close/>
                    <a:moveTo>
                      <a:pt x="302" y="270"/>
                    </a:moveTo>
                    <a:cubicBezTo>
                      <a:pt x="392" y="270"/>
                      <a:pt x="392" y="270"/>
                      <a:pt x="392" y="270"/>
                    </a:cubicBezTo>
                    <a:cubicBezTo>
                      <a:pt x="392" y="358"/>
                      <a:pt x="392" y="358"/>
                      <a:pt x="392" y="358"/>
                    </a:cubicBezTo>
                    <a:cubicBezTo>
                      <a:pt x="302" y="358"/>
                      <a:pt x="302" y="358"/>
                      <a:pt x="302" y="358"/>
                    </a:cubicBezTo>
                    <a:cubicBezTo>
                      <a:pt x="302" y="270"/>
                      <a:pt x="302" y="270"/>
                      <a:pt x="302" y="270"/>
                    </a:cubicBezTo>
                    <a:cubicBezTo>
                      <a:pt x="302" y="270"/>
                      <a:pt x="302" y="270"/>
                      <a:pt x="302" y="270"/>
                    </a:cubicBezTo>
                    <a:close/>
                    <a:moveTo>
                      <a:pt x="302" y="419"/>
                    </a:moveTo>
                    <a:cubicBezTo>
                      <a:pt x="392" y="419"/>
                      <a:pt x="392" y="419"/>
                      <a:pt x="392" y="419"/>
                    </a:cubicBezTo>
                    <a:cubicBezTo>
                      <a:pt x="392" y="507"/>
                      <a:pt x="392" y="507"/>
                      <a:pt x="392" y="507"/>
                    </a:cubicBezTo>
                    <a:cubicBezTo>
                      <a:pt x="302" y="507"/>
                      <a:pt x="302" y="507"/>
                      <a:pt x="302" y="507"/>
                    </a:cubicBezTo>
                    <a:cubicBezTo>
                      <a:pt x="302" y="419"/>
                      <a:pt x="302" y="419"/>
                      <a:pt x="302" y="419"/>
                    </a:cubicBezTo>
                    <a:cubicBezTo>
                      <a:pt x="302" y="419"/>
                      <a:pt x="302" y="419"/>
                      <a:pt x="302" y="419"/>
                    </a:cubicBezTo>
                    <a:close/>
                    <a:moveTo>
                      <a:pt x="139" y="114"/>
                    </a:moveTo>
                    <a:cubicBezTo>
                      <a:pt x="227" y="114"/>
                      <a:pt x="227" y="114"/>
                      <a:pt x="227" y="114"/>
                    </a:cubicBezTo>
                    <a:cubicBezTo>
                      <a:pt x="227" y="202"/>
                      <a:pt x="227" y="202"/>
                      <a:pt x="227" y="202"/>
                    </a:cubicBezTo>
                    <a:cubicBezTo>
                      <a:pt x="139" y="202"/>
                      <a:pt x="139" y="202"/>
                      <a:pt x="139" y="202"/>
                    </a:cubicBezTo>
                    <a:cubicBezTo>
                      <a:pt x="139" y="114"/>
                      <a:pt x="139" y="114"/>
                      <a:pt x="139" y="114"/>
                    </a:cubicBezTo>
                    <a:cubicBezTo>
                      <a:pt x="139" y="114"/>
                      <a:pt x="139" y="114"/>
                      <a:pt x="139" y="114"/>
                    </a:cubicBezTo>
                    <a:close/>
                    <a:moveTo>
                      <a:pt x="139" y="270"/>
                    </a:moveTo>
                    <a:cubicBezTo>
                      <a:pt x="227" y="270"/>
                      <a:pt x="227" y="270"/>
                      <a:pt x="227" y="270"/>
                    </a:cubicBezTo>
                    <a:cubicBezTo>
                      <a:pt x="227" y="358"/>
                      <a:pt x="227" y="358"/>
                      <a:pt x="227" y="358"/>
                    </a:cubicBezTo>
                    <a:cubicBezTo>
                      <a:pt x="139" y="358"/>
                      <a:pt x="139" y="358"/>
                      <a:pt x="139" y="358"/>
                    </a:cubicBezTo>
                    <a:cubicBezTo>
                      <a:pt x="139" y="270"/>
                      <a:pt x="139" y="270"/>
                      <a:pt x="139" y="270"/>
                    </a:cubicBezTo>
                    <a:cubicBezTo>
                      <a:pt x="139" y="270"/>
                      <a:pt x="139" y="270"/>
                      <a:pt x="139" y="270"/>
                    </a:cubicBezTo>
                    <a:close/>
                    <a:moveTo>
                      <a:pt x="139" y="419"/>
                    </a:moveTo>
                    <a:cubicBezTo>
                      <a:pt x="227" y="419"/>
                      <a:pt x="227" y="419"/>
                      <a:pt x="227" y="419"/>
                    </a:cubicBezTo>
                    <a:cubicBezTo>
                      <a:pt x="227" y="507"/>
                      <a:pt x="227" y="507"/>
                      <a:pt x="227" y="507"/>
                    </a:cubicBezTo>
                    <a:cubicBezTo>
                      <a:pt x="139" y="507"/>
                      <a:pt x="139" y="507"/>
                      <a:pt x="139" y="507"/>
                    </a:cubicBezTo>
                    <a:cubicBezTo>
                      <a:pt x="139" y="419"/>
                      <a:pt x="139" y="419"/>
                      <a:pt x="139" y="419"/>
                    </a:cubicBezTo>
                    <a:cubicBezTo>
                      <a:pt x="139" y="419"/>
                      <a:pt x="139" y="419"/>
                      <a:pt x="139" y="419"/>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685294"/>
                <a:endParaRPr lang="en-US" sz="1400" dirty="0">
                  <a:solidFill>
                    <a:srgbClr val="292929"/>
                  </a:solidFill>
                </a:endParaRPr>
              </a:p>
            </p:txBody>
          </p:sp>
        </p:grpSp>
      </p:grpSp>
    </p:spTree>
    <p:extLst>
      <p:ext uri="{BB962C8B-B14F-4D97-AF65-F5344CB8AC3E}">
        <p14:creationId xmlns:p14="http://schemas.microsoft.com/office/powerpoint/2010/main" val="276343317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pported VPN Device List</a:t>
            </a:r>
            <a:endParaRPr lang="en-US" dirty="0"/>
          </a:p>
        </p:txBody>
      </p:sp>
      <p:sp>
        <p:nvSpPr>
          <p:cNvPr id="3" name="Text Placeholder 2"/>
          <p:cNvSpPr>
            <a:spLocks noGrp="1"/>
          </p:cNvSpPr>
          <p:nvPr>
            <p:ph type="body" idx="1"/>
          </p:nvPr>
        </p:nvSpPr>
        <p:spPr>
          <a:xfrm>
            <a:off x="389436" y="918241"/>
            <a:ext cx="4115872" cy="304699"/>
          </a:xfrm>
        </p:spPr>
        <p:txBody>
          <a:bodyPr/>
          <a:lstStyle/>
          <a:p>
            <a:pPr defTabSz="914400">
              <a:buSzPct val="90000"/>
            </a:pPr>
            <a:r>
              <a:rPr lang="en-US" sz="2200" kern="0" dirty="0">
                <a:solidFill>
                  <a:schemeClr val="accent6">
                    <a:alpha val="99000"/>
                  </a:schemeClr>
                </a:solidFill>
                <a:ea typeface="Segoe UI" pitchFamily="34" charset="0"/>
                <a:cs typeface="Segoe UI" pitchFamily="34" charset="0"/>
              </a:rPr>
              <a:t>Cisco</a:t>
            </a:r>
          </a:p>
        </p:txBody>
      </p:sp>
      <p:graphicFrame>
        <p:nvGraphicFramePr>
          <p:cNvPr id="7" name="Content Placeholder 6"/>
          <p:cNvGraphicFramePr>
            <a:graphicFrameLocks noGrp="1"/>
          </p:cNvGraphicFramePr>
          <p:nvPr>
            <p:ph sz="half" idx="2"/>
            <p:extLst>
              <p:ext uri="{D42A27DB-BD31-4B8C-83A1-F6EECF244321}">
                <p14:modId xmlns:p14="http://schemas.microsoft.com/office/powerpoint/2010/main" val="2157289920"/>
              </p:ext>
            </p:extLst>
          </p:nvPr>
        </p:nvGraphicFramePr>
        <p:xfrm>
          <a:off x="381100" y="1333337"/>
          <a:ext cx="4114682" cy="2228850"/>
        </p:xfrm>
        <a:graphic>
          <a:graphicData uri="http://schemas.openxmlformats.org/drawingml/2006/table">
            <a:tbl>
              <a:tblPr firstRow="1" bandRow="1">
                <a:tableStyleId>{2D5ABB26-0587-4C30-8999-92F81FD0307C}</a:tableStyleId>
              </a:tblPr>
              <a:tblGrid>
                <a:gridCol w="1904305"/>
                <a:gridCol w="1200463"/>
                <a:gridCol w="1009914"/>
              </a:tblGrid>
              <a:tr h="365385">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accent2"/>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accent2"/>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5500 </a:t>
                      </a:r>
                      <a:r>
                        <a:rPr lang="en-US" sz="1200" kern="1200" dirty="0" smtClean="0">
                          <a:solidFill>
                            <a:schemeClr val="tx2">
                              <a:lumMod val="75000"/>
                              <a:alpha val="99000"/>
                            </a:schemeClr>
                          </a:solidFill>
                          <a:latin typeface="+mn-lt"/>
                          <a:ea typeface="+mn-ea"/>
                          <a:cs typeface="+mn-cs"/>
                        </a:rPr>
                        <a:t>Series (Adaptive Security Appliances)</a:t>
                      </a:r>
                      <a:endParaRPr lang="en-US" sz="1200" kern="1200" dirty="0">
                        <a:solidFill>
                          <a:schemeClr val="tx2">
                            <a:lumMod val="75000"/>
                            <a:alpha val="99000"/>
                          </a:schemeClr>
                        </a:solidFill>
                        <a:latin typeface="+mn-lt"/>
                        <a:ea typeface="+mn-ea"/>
                        <a:cs typeface="+mn-cs"/>
                      </a:endParaRP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A Software 8.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5505, 55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767309">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ASR 1000 Series Aggregation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XE 2.1+</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100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548078">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R Series Integrated Services Routers </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OS 12.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801, 2901, 2911</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5" name="Text Placeholder 4"/>
          <p:cNvSpPr>
            <a:spLocks noGrp="1"/>
          </p:cNvSpPr>
          <p:nvPr>
            <p:ph type="body" sz="quarter" idx="3"/>
          </p:nvPr>
        </p:nvSpPr>
        <p:spPr>
          <a:xfrm>
            <a:off x="4637501" y="918241"/>
            <a:ext cx="4115872" cy="304699"/>
          </a:xfrm>
        </p:spPr>
        <p:txBody>
          <a:bodyPr/>
          <a:lstStyle/>
          <a:p>
            <a:pPr defTabSz="914400">
              <a:buSzPct val="90000"/>
            </a:pPr>
            <a:r>
              <a:rPr lang="en-US" sz="2200" kern="0" dirty="0">
                <a:solidFill>
                  <a:schemeClr val="accent4">
                    <a:lumMod val="75000"/>
                    <a:alpha val="99000"/>
                  </a:schemeClr>
                </a:solidFill>
                <a:ea typeface="Segoe UI" pitchFamily="34" charset="0"/>
                <a:cs typeface="Segoe UI" pitchFamily="34" charset="0"/>
              </a:rPr>
              <a:t>Juniper</a:t>
            </a:r>
          </a:p>
        </p:txBody>
      </p:sp>
      <p:graphicFrame>
        <p:nvGraphicFramePr>
          <p:cNvPr id="9" name="Content Placeholder 8"/>
          <p:cNvGraphicFramePr>
            <a:graphicFrameLocks noGrp="1"/>
          </p:cNvGraphicFramePr>
          <p:nvPr>
            <p:ph sz="quarter" idx="4"/>
            <p:extLst>
              <p:ext uri="{D42A27DB-BD31-4B8C-83A1-F6EECF244321}">
                <p14:modId xmlns:p14="http://schemas.microsoft.com/office/powerpoint/2010/main" val="4070252710"/>
              </p:ext>
            </p:extLst>
          </p:nvPr>
        </p:nvGraphicFramePr>
        <p:xfrm>
          <a:off x="4647128" y="1333337"/>
          <a:ext cx="4115872" cy="2206531"/>
        </p:xfrm>
        <a:graphic>
          <a:graphicData uri="http://schemas.openxmlformats.org/drawingml/2006/table">
            <a:tbl>
              <a:tblPr firstRow="1" bandRow="1">
                <a:tableStyleId>{2D5ABB26-0587-4C30-8999-92F81FD0307C}</a:tableStyleId>
              </a:tblPr>
              <a:tblGrid>
                <a:gridCol w="1820939"/>
                <a:gridCol w="1257628"/>
                <a:gridCol w="1037305"/>
              </a:tblGrid>
              <a:tr h="352343">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Platform</a:t>
                      </a:r>
                    </a:p>
                  </a:txBody>
                  <a:tcPr marL="45720" marR="45720" anchor="ctr">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a:solidFill>
                            <a:schemeClr val="bg1">
                              <a:alpha val="99000"/>
                            </a:schemeClr>
                          </a:solidFill>
                          <a:latin typeface="+mn-lt"/>
                          <a:ea typeface="+mn-ea"/>
                          <a:cs typeface="+mn-cs"/>
                        </a:rPr>
                        <a:t>OS Family</a:t>
                      </a:r>
                    </a:p>
                  </a:txBody>
                  <a:tcPr marL="45720" marR="45720" anchor="ct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solidFill>
                      <a:schemeClr val="accent4"/>
                    </a:solidFill>
                  </a:tcPr>
                </a:tc>
                <a:tc>
                  <a:txBody>
                    <a:bodyPr/>
                    <a:lstStyle/>
                    <a:p>
                      <a:pPr marL="0" marR="0" indent="0" algn="l" defTabSz="685864" rtl="0" eaLnBrk="1" fontAlgn="auto" latinLnBrk="0" hangingPunct="1">
                        <a:lnSpc>
                          <a:spcPct val="100000"/>
                        </a:lnSpc>
                        <a:spcBef>
                          <a:spcPts val="0"/>
                        </a:spcBef>
                        <a:spcAft>
                          <a:spcPts val="0"/>
                        </a:spcAft>
                        <a:buClrTx/>
                        <a:buSzTx/>
                        <a:buFontTx/>
                        <a:buNone/>
                        <a:tabLst/>
                        <a:defRPr/>
                      </a:pPr>
                      <a:r>
                        <a:rPr lang="en-US" sz="1200" b="1" kern="1200" dirty="0" smtClean="0">
                          <a:solidFill>
                            <a:schemeClr val="bg1">
                              <a:alpha val="99000"/>
                            </a:schemeClr>
                          </a:solidFill>
                          <a:latin typeface="+mn-lt"/>
                          <a:ea typeface="+mn-ea"/>
                          <a:cs typeface="+mn-cs"/>
                        </a:rPr>
                        <a:t>Examples</a:t>
                      </a:r>
                      <a:endParaRPr lang="en-US" sz="1200" b="1" kern="1200" dirty="0">
                        <a:solidFill>
                          <a:schemeClr val="bg1">
                            <a:alpha val="99000"/>
                          </a:schemeClr>
                        </a:solidFill>
                        <a:latin typeface="+mn-lt"/>
                        <a:ea typeface="+mn-ea"/>
                        <a:cs typeface="+mn-cs"/>
                      </a:endParaRPr>
                    </a:p>
                  </a:txBody>
                  <a:tcPr marL="45720" marR="45720" anchor="ctr">
                    <a:lnL w="38100" cap="flat" cmpd="sng" algn="ctr">
                      <a:solidFill>
                        <a:schemeClr val="bg1"/>
                      </a:solidFill>
                      <a:prstDash val="solid"/>
                      <a:round/>
                      <a:headEnd type="none" w="med" len="med"/>
                      <a:tailEnd type="none" w="med" len="med"/>
                    </a:lnL>
                    <a:solidFill>
                      <a:schemeClr val="accent4"/>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RX Series Routers</a:t>
                      </a:r>
                    </a:p>
                  </a:txBody>
                  <a:tcPr marL="45720" marR="45720">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JunOS 10.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smtClean="0">
                          <a:solidFill>
                            <a:schemeClr val="tx2">
                              <a:lumMod val="75000"/>
                              <a:alpha val="99000"/>
                            </a:schemeClr>
                          </a:solidFill>
                          <a:latin typeface="+mn-lt"/>
                          <a:ea typeface="+mn-ea"/>
                          <a:cs typeface="+mn-cs"/>
                        </a:rPr>
                        <a:t>210, 650</a:t>
                      </a:r>
                      <a:endParaRPr lang="en-US" sz="1200" kern="1200" dirty="0">
                        <a:solidFill>
                          <a:schemeClr val="tx2">
                            <a:lumMod val="75000"/>
                            <a:alpha val="99000"/>
                          </a:schemeClr>
                        </a:solidFill>
                        <a:latin typeface="+mn-lt"/>
                        <a:ea typeface="+mn-ea"/>
                        <a:cs typeface="+mn-cs"/>
                      </a:endParaRPr>
                    </a:p>
                  </a:txBody>
                  <a:tcPr marL="45720" marR="45720">
                    <a:lnL w="38100" cap="flat" cmpd="sng" algn="ctr">
                      <a:solidFill>
                        <a:schemeClr val="bg1"/>
                      </a:solidFill>
                      <a:prstDash val="solid"/>
                      <a:round/>
                      <a:headEnd type="none" w="med" len="med"/>
                      <a:tailEnd type="none" w="med" len="med"/>
                    </a:lnL>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J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JunOS</a:t>
                      </a:r>
                      <a:r>
                        <a:rPr lang="en-US" sz="1200" kern="1200" dirty="0">
                          <a:solidFill>
                            <a:schemeClr val="tx2">
                              <a:lumMod val="75000"/>
                              <a:alpha val="99000"/>
                            </a:schemeClr>
                          </a:solidFill>
                          <a:latin typeface="+mn-lt"/>
                          <a:ea typeface="+mn-ea"/>
                          <a:cs typeface="+mn-cs"/>
                        </a:rPr>
                        <a:t> 9.4+</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43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I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creenOS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a:solidFill>
                            <a:schemeClr val="tx2">
                              <a:lumMod val="75000"/>
                              <a:alpha val="99000"/>
                            </a:schemeClr>
                          </a:solidFill>
                          <a:latin typeface="+mn-lt"/>
                          <a:ea typeface="+mn-ea"/>
                          <a:cs typeface="+mn-cs"/>
                        </a:rPr>
                        <a:t>SX2</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bg1">
                        <a:lumMod val="95000"/>
                      </a:schemeClr>
                    </a:solidFill>
                  </a:tcPr>
                </a:tc>
              </a:tr>
              <a:tr h="463547">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SSG Series Routers</a:t>
                      </a:r>
                    </a:p>
                  </a:txBody>
                  <a:tcPr marL="45720" marR="45720">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err="1">
                          <a:solidFill>
                            <a:schemeClr val="tx2">
                              <a:lumMod val="75000"/>
                              <a:alpha val="99000"/>
                            </a:schemeClr>
                          </a:solidFill>
                          <a:latin typeface="+mn-lt"/>
                          <a:ea typeface="+mn-ea"/>
                          <a:cs typeface="+mn-cs"/>
                        </a:rPr>
                        <a:t>ScreenOS</a:t>
                      </a:r>
                      <a:r>
                        <a:rPr lang="en-US" sz="1200" kern="1200" dirty="0">
                          <a:solidFill>
                            <a:schemeClr val="tx2">
                              <a:lumMod val="75000"/>
                              <a:alpha val="99000"/>
                            </a:schemeClr>
                          </a:solidFill>
                          <a:latin typeface="+mn-lt"/>
                          <a:ea typeface="+mn-ea"/>
                          <a:cs typeface="+mn-cs"/>
                        </a:rPr>
                        <a:t> 6.2+</a:t>
                      </a:r>
                    </a:p>
                  </a:txBody>
                  <a:tcPr marL="45720" marR="45720">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solidFill>
                      <a:schemeClr val="bg1">
                        <a:lumMod val="95000"/>
                      </a:schemeClr>
                    </a:solidFill>
                  </a:tcPr>
                </a:tc>
                <a:tc>
                  <a:txBody>
                    <a:bodyPr/>
                    <a:lstStyle/>
                    <a:p>
                      <a:pPr marL="0" marR="0" algn="l" defTabSz="685864" rtl="0" eaLnBrk="1" latinLnBrk="0" hangingPunct="1">
                        <a:lnSpc>
                          <a:spcPct val="115000"/>
                        </a:lnSpc>
                        <a:spcBef>
                          <a:spcPts val="0"/>
                        </a:spcBef>
                        <a:spcAft>
                          <a:spcPts val="0"/>
                        </a:spcAft>
                      </a:pPr>
                      <a:r>
                        <a:rPr lang="en-US" sz="1200" kern="1200" dirty="0">
                          <a:solidFill>
                            <a:schemeClr val="tx2">
                              <a:lumMod val="75000"/>
                              <a:alpha val="99000"/>
                            </a:schemeClr>
                          </a:solidFill>
                          <a:latin typeface="+mn-lt"/>
                          <a:ea typeface="+mn-ea"/>
                          <a:cs typeface="+mn-cs"/>
                        </a:rPr>
                        <a:t>550</a:t>
                      </a:r>
                    </a:p>
                  </a:txBody>
                  <a:tcPr marL="45720" marR="45720">
                    <a:lnL w="38100"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solidFill>
                      <a:schemeClr val="bg1">
                        <a:lumMod val="95000"/>
                      </a:schemeClr>
                    </a:solidFill>
                  </a:tcPr>
                </a:tc>
              </a:tr>
            </a:tbl>
          </a:graphicData>
        </a:graphic>
      </p:graphicFrame>
      <p:sp>
        <p:nvSpPr>
          <p:cNvPr id="10" name="TextBox 9"/>
          <p:cNvSpPr txBox="1"/>
          <p:nvPr/>
        </p:nvSpPr>
        <p:spPr>
          <a:xfrm>
            <a:off x="398963" y="3651142"/>
            <a:ext cx="8403238" cy="997196"/>
          </a:xfrm>
          <a:prstGeom prst="rect">
            <a:avLst/>
          </a:prstGeom>
          <a:noFill/>
        </p:spPr>
        <p:txBody>
          <a:bodyPr wrap="square" lIns="0" tIns="0" rIns="0" bIns="0" rtlCol="0">
            <a:spAutoFit/>
          </a:bodyPr>
          <a:lstStyle/>
          <a:p>
            <a:pPr>
              <a:lnSpc>
                <a:spcPct val="90000"/>
              </a:lnSpc>
              <a:buSzPct val="90000"/>
            </a:pPr>
            <a:r>
              <a:rPr lang="en-US" sz="2000" kern="0" dirty="0">
                <a:solidFill>
                  <a:schemeClr val="accent6">
                    <a:alpha val="99000"/>
                  </a:schemeClr>
                </a:solidFill>
                <a:ea typeface="Segoe UI" pitchFamily="34" charset="0"/>
                <a:cs typeface="Segoe UI" pitchFamily="34" charset="0"/>
              </a:rPr>
              <a:t>Generic VPN devices must support</a:t>
            </a:r>
          </a:p>
          <a:p>
            <a:pPr marL="174625" indent="-174625">
              <a:buFont typeface="Arial" pitchFamily="34" charset="0"/>
              <a:buChar char="•"/>
            </a:pPr>
            <a:r>
              <a:rPr lang="en-US" sz="1500" dirty="0">
                <a:solidFill>
                  <a:srgbClr val="595959"/>
                </a:solidFill>
              </a:rPr>
              <a:t>IKE v1</a:t>
            </a:r>
          </a:p>
          <a:p>
            <a:pPr marL="174625" indent="-174625">
              <a:buFont typeface="Arial" pitchFamily="34" charset="0"/>
              <a:buChar char="•"/>
            </a:pPr>
            <a:r>
              <a:rPr lang="en-US" sz="1500" dirty="0">
                <a:solidFill>
                  <a:srgbClr val="595959"/>
                </a:solidFill>
              </a:rPr>
              <a:t>AES 128, 256</a:t>
            </a:r>
          </a:p>
          <a:p>
            <a:pPr marL="174625" indent="-174625">
              <a:buFont typeface="Arial" pitchFamily="34" charset="0"/>
              <a:buChar char="•"/>
            </a:pPr>
            <a:r>
              <a:rPr lang="en-US" sz="1500" dirty="0">
                <a:solidFill>
                  <a:srgbClr val="595959"/>
                </a:solidFill>
              </a:rPr>
              <a:t>SHA1, SHA2</a:t>
            </a:r>
          </a:p>
        </p:txBody>
      </p:sp>
    </p:spTree>
    <p:extLst>
      <p:ext uri="{BB962C8B-B14F-4D97-AF65-F5344CB8AC3E}">
        <p14:creationId xmlns:p14="http://schemas.microsoft.com/office/powerpoint/2010/main" val="3108287283"/>
      </p:ext>
    </p:extLst>
  </p:cSld>
  <p:clrMapOvr>
    <a:masterClrMapping/>
  </p:clrMapOvr>
  <p:transition>
    <p:fad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bwMode="auto">
          <a:xfrm>
            <a:off x="4859847" y="3125096"/>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29" name="Rectangle 28"/>
          <p:cNvSpPr/>
          <p:nvPr/>
        </p:nvSpPr>
        <p:spPr bwMode="auto">
          <a:xfrm>
            <a:off x="4858706" y="1657835"/>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30" name="Rectangle 29"/>
          <p:cNvSpPr/>
          <p:nvPr/>
        </p:nvSpPr>
        <p:spPr bwMode="auto">
          <a:xfrm>
            <a:off x="6055761"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endParaRPr lang="en-US" kern="0" dirty="0">
              <a:gradFill>
                <a:gsLst>
                  <a:gs pos="85000">
                    <a:srgbClr val="FFFFFF"/>
                  </a:gs>
                  <a:gs pos="0">
                    <a:srgbClr val="FFFFFF"/>
                  </a:gs>
                </a:gsLst>
                <a:lin ang="5400000" scaled="0"/>
              </a:gradFill>
            </a:endParaRPr>
          </a:p>
        </p:txBody>
      </p:sp>
      <p:sp>
        <p:nvSpPr>
          <p:cNvPr id="31" name="Rectangle 30"/>
          <p:cNvSpPr/>
          <p:nvPr/>
        </p:nvSpPr>
        <p:spPr bwMode="auto">
          <a:xfrm>
            <a:off x="6054620"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81" name="Rectangle 80"/>
          <p:cNvSpPr/>
          <p:nvPr/>
        </p:nvSpPr>
        <p:spPr bwMode="auto">
          <a:xfrm>
            <a:off x="4858709" y="0"/>
            <a:ext cx="2358597" cy="5143500"/>
          </a:xfrm>
          <a:prstGeom prst="rect">
            <a:avLst/>
          </a:prstGeom>
          <a:solidFill>
            <a:schemeClr val="accent2"/>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59" name="Rectangle 58"/>
          <p:cNvSpPr/>
          <p:nvPr/>
        </p:nvSpPr>
        <p:spPr bwMode="auto">
          <a:xfrm>
            <a:off x="6055761"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PaaS</a:t>
            </a:r>
          </a:p>
        </p:txBody>
      </p:sp>
      <p:sp>
        <p:nvSpPr>
          <p:cNvPr id="60" name="Rectangle 59"/>
          <p:cNvSpPr/>
          <p:nvPr/>
        </p:nvSpPr>
        <p:spPr bwMode="auto">
          <a:xfrm>
            <a:off x="7251676"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SaaS</a:t>
            </a:r>
          </a:p>
        </p:txBody>
      </p:sp>
      <p:sp>
        <p:nvSpPr>
          <p:cNvPr id="61" name="Rectangle 60"/>
          <p:cNvSpPr/>
          <p:nvPr/>
        </p:nvSpPr>
        <p:spPr bwMode="auto">
          <a:xfrm>
            <a:off x="6054620" y="1652900"/>
            <a:ext cx="1162683" cy="1431393"/>
          </a:xfrm>
          <a:prstGeom prst="rect">
            <a:avLst/>
          </a:prstGeom>
          <a:no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2" name="Rectangle 61"/>
          <p:cNvSpPr/>
          <p:nvPr/>
        </p:nvSpPr>
        <p:spPr bwMode="auto">
          <a:xfrm>
            <a:off x="7250535"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sp>
        <p:nvSpPr>
          <p:cNvPr id="64" name="Rectangle 63"/>
          <p:cNvSpPr/>
          <p:nvPr/>
        </p:nvSpPr>
        <p:spPr bwMode="auto">
          <a:xfrm>
            <a:off x="2468020" y="3120164"/>
            <a:ext cx="1162683" cy="389187"/>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91424" tIns="0" rIns="0" bIns="0" numCol="1" rtlCol="0" anchor="ctr" anchorCtr="1" compatLnSpc="1">
            <a:prstTxWarp prst="textNoShape">
              <a:avLst/>
            </a:prstTxWarp>
          </a:bodyPr>
          <a:lstStyle/>
          <a:p>
            <a:pPr algn="ctr" defTabSz="685777">
              <a:buSzPct val="90000"/>
              <a:defRPr/>
            </a:pPr>
            <a:r>
              <a:rPr lang="en-US" kern="0">
                <a:gradFill>
                  <a:gsLst>
                    <a:gs pos="85000">
                      <a:srgbClr val="FFFFFF"/>
                    </a:gs>
                    <a:gs pos="0">
                      <a:srgbClr val="FFFFFF"/>
                    </a:gs>
                  </a:gsLst>
                  <a:lin ang="5400000" scaled="0"/>
                </a:gradFill>
              </a:rPr>
              <a:t>Physical</a:t>
            </a:r>
          </a:p>
        </p:txBody>
      </p:sp>
      <p:sp>
        <p:nvSpPr>
          <p:cNvPr id="65" name="Rectangle 64"/>
          <p:cNvSpPr/>
          <p:nvPr/>
        </p:nvSpPr>
        <p:spPr bwMode="auto">
          <a:xfrm>
            <a:off x="2466879" y="1652900"/>
            <a:ext cx="1162683" cy="143139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50" tIns="182850" rIns="91424" bIns="45710"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66"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2638857" y="1958310"/>
            <a:ext cx="830658" cy="830440"/>
          </a:xfrm>
          <a:prstGeom prst="rect">
            <a:avLst/>
          </a:prstGeom>
          <a:noFill/>
        </p:spPr>
      </p:pic>
      <p:sp>
        <p:nvSpPr>
          <p:cNvPr id="68" name="Isosceles Triangle 67"/>
          <p:cNvSpPr/>
          <p:nvPr/>
        </p:nvSpPr>
        <p:spPr bwMode="auto">
          <a:xfrm rot="10800000">
            <a:off x="6328213" y="2170477"/>
            <a:ext cx="436736" cy="546931"/>
          </a:xfrm>
          <a:prstGeom prst="triangle">
            <a:avLst>
              <a:gd name="adj" fmla="val 0"/>
            </a:avLst>
          </a:prstGeom>
          <a:gradFill rotWithShape="1">
            <a:gsLst>
              <a:gs pos="0">
                <a:sysClr val="window" lastClr="FFFFFF">
                  <a:lumMod val="95000"/>
                  <a:alpha val="0"/>
                </a:sysClr>
              </a:gs>
              <a:gs pos="50000">
                <a:schemeClr val="bg1">
                  <a:alpha val="53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20" tIns="45710" rIns="91420" bIns="45710"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69" name="Picture 68"/>
          <p:cNvPicPr>
            <a:picLocks noChangeAspect="1"/>
          </p:cNvPicPr>
          <p:nvPr/>
        </p:nvPicPr>
        <p:blipFill>
          <a:blip r:embed="rId4" cstate="print">
            <a:lum bright="100000" contrast="100000"/>
          </a:blip>
          <a:stretch>
            <a:fillRect/>
          </a:stretch>
        </p:blipFill>
        <p:spPr>
          <a:xfrm>
            <a:off x="6224924" y="2491890"/>
            <a:ext cx="869612" cy="518146"/>
          </a:xfrm>
          <a:prstGeom prst="rect">
            <a:avLst/>
          </a:prstGeom>
          <a:noFill/>
          <a:ln>
            <a:noFill/>
          </a:ln>
          <a:effectLst/>
        </p:spPr>
      </p:pic>
      <p:pic>
        <p:nvPicPr>
          <p:cNvPr id="70" name="Picture 69"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6224927" y="1639410"/>
            <a:ext cx="643313" cy="642978"/>
          </a:xfrm>
          <a:prstGeom prst="rect">
            <a:avLst/>
          </a:prstGeom>
          <a:noFill/>
        </p:spPr>
      </p:pic>
      <p:grpSp>
        <p:nvGrpSpPr>
          <p:cNvPr id="71" name="Group 70"/>
          <p:cNvGrpSpPr/>
          <p:nvPr/>
        </p:nvGrpSpPr>
        <p:grpSpPr>
          <a:xfrm>
            <a:off x="7404781" y="1719018"/>
            <a:ext cx="869612" cy="1291021"/>
            <a:chOff x="10948236" y="3048621"/>
            <a:chExt cx="2113909" cy="3139117"/>
          </a:xfrm>
        </p:grpSpPr>
        <p:pic>
          <p:nvPicPr>
            <p:cNvPr id="72"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3" name="Isosceles Triangle 72"/>
            <p:cNvSpPr/>
            <p:nvPr/>
          </p:nvSpPr>
          <p:spPr bwMode="auto">
            <a:xfrm rot="10800000">
              <a:off x="11199316" y="4146344"/>
              <a:ext cx="1061647" cy="1329862"/>
            </a:xfrm>
            <a:prstGeom prst="triangle">
              <a:avLst>
                <a:gd name="adj" fmla="val 0"/>
              </a:avLst>
            </a:prstGeom>
            <a:gradFill rotWithShape="1">
              <a:gsLst>
                <a:gs pos="0">
                  <a:sysClr val="window" lastClr="FFFFFF">
                    <a:lumMod val="95000"/>
                    <a:alpha val="0"/>
                  </a:sysClr>
                </a:gs>
                <a:gs pos="50000">
                  <a:schemeClr val="bg1">
                    <a:alpha val="67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74" name="Picture 73"/>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75" name="Group 74"/>
          <p:cNvGrpSpPr/>
          <p:nvPr/>
        </p:nvGrpSpPr>
        <p:grpSpPr>
          <a:xfrm>
            <a:off x="3662792" y="1652900"/>
            <a:ext cx="1163824" cy="1856450"/>
            <a:chOff x="2983003" y="2764132"/>
            <a:chExt cx="2829100" cy="4513958"/>
          </a:xfrm>
        </p:grpSpPr>
        <p:sp>
          <p:nvSpPr>
            <p:cNvPr id="76" name="Rectangle 75"/>
            <p:cNvSpPr/>
            <p:nvPr/>
          </p:nvSpPr>
          <p:spPr bwMode="auto">
            <a:xfrm>
              <a:off x="2985776" y="6331781"/>
              <a:ext cx="2826327" cy="946309"/>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0" tIns="0" rIns="0" bIns="0" numCol="1" rtlCol="0" anchor="ctr" anchorCtr="1" compatLnSpc="1">
              <a:prstTxWarp prst="textNoShape">
                <a:avLst/>
              </a:prstTxWarp>
            </a:bodyPr>
            <a:lstStyle/>
            <a:p>
              <a:pPr defTabSz="685777">
                <a:lnSpc>
                  <a:spcPct val="90000"/>
                </a:lnSpc>
                <a:buSzPct val="90000"/>
                <a:defRPr/>
              </a:pPr>
              <a:r>
                <a:rPr lang="en-US" kern="0">
                  <a:gradFill>
                    <a:gsLst>
                      <a:gs pos="85000">
                        <a:srgbClr val="FFFFFF"/>
                      </a:gs>
                      <a:gs pos="0">
                        <a:srgbClr val="FFFFFF"/>
                      </a:gs>
                    </a:gsLst>
                    <a:lin ang="5400000" scaled="0"/>
                  </a:gradFill>
                </a:rPr>
                <a:t>Virtual</a:t>
              </a:r>
            </a:p>
          </p:txBody>
        </p:sp>
        <p:sp>
          <p:nvSpPr>
            <p:cNvPr id="77" name="Rectangle 76"/>
            <p:cNvSpPr/>
            <p:nvPr/>
          </p:nvSpPr>
          <p:spPr bwMode="auto">
            <a:xfrm>
              <a:off x="2983003" y="2764132"/>
              <a:ext cx="2826327" cy="3480433"/>
            </a:xfrm>
            <a:prstGeom prst="rect">
              <a:avLst/>
            </a:prstGeom>
            <a:solidFill>
              <a:schemeClr val="accent6">
                <a:lumMod val="40000"/>
                <a:lumOff val="60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defTabSz="685777">
                <a:lnSpc>
                  <a:spcPct val="90000"/>
                </a:lnSpc>
                <a:buSzPct val="90000"/>
                <a:defRPr/>
              </a:pPr>
              <a:endParaRPr lang="en-US" sz="2200" kern="0">
                <a:gradFill>
                  <a:gsLst>
                    <a:gs pos="85000">
                      <a:srgbClr val="FFFFFF"/>
                    </a:gs>
                    <a:gs pos="0">
                      <a:srgbClr val="FFFFFF"/>
                    </a:gs>
                  </a:gsLst>
                  <a:lin ang="5400000" scaled="0"/>
                </a:gradFill>
              </a:endParaRPr>
            </a:p>
          </p:txBody>
        </p:sp>
        <p:pic>
          <p:nvPicPr>
            <p:cNvPr id="78"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sp>
        <p:nvSpPr>
          <p:cNvPr id="80" name="Rectangle 79"/>
          <p:cNvSpPr/>
          <p:nvPr/>
        </p:nvSpPr>
        <p:spPr bwMode="auto">
          <a:xfrm>
            <a:off x="4859847" y="3120164"/>
            <a:ext cx="1162683" cy="389187"/>
          </a:xfrm>
          <a:prstGeom prst="rect">
            <a:avLst/>
          </a:prstGeom>
          <a:noFill/>
          <a:ln w="9525" cap="flat" cmpd="sng" algn="ctr">
            <a:noFill/>
            <a:prstDash val="solid"/>
            <a:headEnd type="none" w="med" len="med"/>
            <a:tailEnd type="none" w="med" len="med"/>
          </a:ln>
          <a:effectLst/>
        </p:spPr>
        <p:txBody>
          <a:bodyPr vert="horz" wrap="square" lIns="182850" tIns="0" rIns="91424" bIns="0" numCol="1" rtlCol="0" anchor="ctr" anchorCtr="1" compatLnSpc="1">
            <a:prstTxWarp prst="textNoShape">
              <a:avLst/>
            </a:prstTxWarp>
          </a:bodyPr>
          <a:lstStyle/>
          <a:p>
            <a:pPr defTabSz="685777">
              <a:lnSpc>
                <a:spcPct val="90000"/>
              </a:lnSpc>
              <a:buSzPct val="90000"/>
              <a:defRPr/>
            </a:pPr>
            <a:r>
              <a:rPr lang="en-US" kern="0" dirty="0" err="1">
                <a:gradFill>
                  <a:gsLst>
                    <a:gs pos="85000">
                      <a:srgbClr val="FFFFFF"/>
                    </a:gs>
                    <a:gs pos="0">
                      <a:srgbClr val="FFFFFF"/>
                    </a:gs>
                  </a:gsLst>
                  <a:lin ang="5400000" scaled="0"/>
                </a:gradFill>
              </a:rPr>
              <a:t>IaaS</a:t>
            </a:r>
            <a:endParaRPr lang="en-US" kern="0" dirty="0">
              <a:gradFill>
                <a:gsLst>
                  <a:gs pos="85000">
                    <a:srgbClr val="FFFFFF"/>
                  </a:gs>
                  <a:gs pos="0">
                    <a:srgbClr val="FFFFFF"/>
                  </a:gs>
                </a:gsLst>
                <a:lin ang="5400000" scaled="0"/>
              </a:gradFill>
            </a:endParaRPr>
          </a:p>
        </p:txBody>
      </p:sp>
      <p:grpSp>
        <p:nvGrpSpPr>
          <p:cNvPr id="82" name="Group 81"/>
          <p:cNvGrpSpPr/>
          <p:nvPr/>
        </p:nvGrpSpPr>
        <p:grpSpPr>
          <a:xfrm>
            <a:off x="4839864" y="1634155"/>
            <a:ext cx="1142501" cy="1375883"/>
            <a:chOff x="5062551" y="2861874"/>
            <a:chExt cx="2777268" cy="3345461"/>
          </a:xfrm>
        </p:grpSpPr>
        <p:pic>
          <p:nvPicPr>
            <p:cNvPr id="83"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84" name="Isosceles Triangle 83"/>
            <p:cNvSpPr/>
            <p:nvPr/>
          </p:nvSpPr>
          <p:spPr bwMode="auto">
            <a:xfrm rot="9180217">
              <a:off x="6169786" y="4246310"/>
              <a:ext cx="1061647" cy="1329862"/>
            </a:xfrm>
            <a:prstGeom prst="triangle">
              <a:avLst>
                <a:gd name="adj" fmla="val 64317"/>
              </a:avLst>
            </a:prstGeom>
            <a:gradFill rotWithShape="1">
              <a:gsLst>
                <a:gs pos="0">
                  <a:sysClr val="window" lastClr="FFFFFF">
                    <a:lumMod val="95000"/>
                    <a:alpha val="0"/>
                  </a:sysClr>
                </a:gs>
                <a:gs pos="50000">
                  <a:schemeClr val="bg1">
                    <a:alpha val="58000"/>
                  </a:schemeClr>
                </a:gs>
                <a:gs pos="100000">
                  <a:schemeClr val="bg1"/>
                </a:gs>
              </a:gsLst>
              <a:lin ang="5400000" scaled="0"/>
            </a:gradFill>
            <a:ln w="9525"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685552">
                <a:defRPr/>
              </a:pPr>
              <a:endParaRPr lang="en-US" sz="1400" kern="0">
                <a:gradFill>
                  <a:gsLst>
                    <a:gs pos="0">
                      <a:srgbClr val="FFFFFF"/>
                    </a:gs>
                    <a:gs pos="100000">
                      <a:srgbClr val="FFFFFF"/>
                    </a:gs>
                  </a:gsLst>
                  <a:lin ang="5400000" scaled="0"/>
                </a:gradFill>
              </a:endParaRPr>
            </a:p>
          </p:txBody>
        </p:sp>
        <p:pic>
          <p:nvPicPr>
            <p:cNvPr id="85" name="Picture 84"/>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sp>
        <p:nvSpPr>
          <p:cNvPr id="5" name="Title 4"/>
          <p:cNvSpPr>
            <a:spLocks noGrp="1"/>
          </p:cNvSpPr>
          <p:nvPr>
            <p:ph type="title"/>
          </p:nvPr>
        </p:nvSpPr>
        <p:spPr>
          <a:xfrm>
            <a:off x="389436" y="171453"/>
            <a:ext cx="8363938" cy="1142621"/>
          </a:xfrm>
        </p:spPr>
        <p:txBody>
          <a:bodyPr/>
          <a:lstStyle/>
          <a:p>
            <a:r>
              <a:rPr lang="en-US" smtClean="0"/>
              <a:t>IaaS and PaaS </a:t>
            </a:r>
            <a:br>
              <a:rPr lang="en-US" smtClean="0"/>
            </a:br>
            <a:r>
              <a:rPr lang="en-US" smtClean="0"/>
              <a:t>	– Better Together</a:t>
            </a:r>
            <a:endParaRPr lang="en-US" dirty="0"/>
          </a:p>
        </p:txBody>
      </p:sp>
    </p:spTree>
    <p:extLst>
      <p:ext uri="{BB962C8B-B14F-4D97-AF65-F5344CB8AC3E}">
        <p14:creationId xmlns:p14="http://schemas.microsoft.com/office/powerpoint/2010/main" val="271936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81"/>
                                        </p:tgtEl>
                                        <p:attrNameLst>
                                          <p:attrName>style.visibility</p:attrName>
                                        </p:attrNameLst>
                                      </p:cBhvr>
                                      <p:to>
                                        <p:strVal val="visible"/>
                                      </p:to>
                                    </p:set>
                                    <p:animEffect transition="in" filter="wipe(up)">
                                      <p:cBhvr>
                                        <p:cTn id="7" dur="500"/>
                                        <p:tgtEl>
                                          <p:spTgt spid="8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6"/>
            <a:ext cx="8363938" cy="858697"/>
          </a:xfrm>
        </p:spPr>
        <p:txBody>
          <a:bodyPr/>
          <a:lstStyle/>
          <a:p>
            <a:r>
              <a:rPr lang="en-US" dirty="0" smtClean="0"/>
              <a:t>The Benefits of </a:t>
            </a:r>
            <a:r>
              <a:rPr lang="en-US" dirty="0" err="1" smtClean="0"/>
              <a:t>PaaS</a:t>
            </a:r>
            <a:r>
              <a:rPr lang="en-US" dirty="0" smtClean="0"/>
              <a:t/>
            </a:r>
            <a:br>
              <a:rPr lang="en-US" dirty="0" smtClean="0"/>
            </a:br>
            <a:endParaRPr lang="en-US" sz="2100" dirty="0">
              <a:solidFill>
                <a:schemeClr val="accent1"/>
              </a:solidFill>
            </a:endParaRPr>
          </a:p>
        </p:txBody>
      </p:sp>
      <p:sp>
        <p:nvSpPr>
          <p:cNvPr id="4" name="Rectangle 3"/>
          <p:cNvSpPr/>
          <p:nvPr/>
        </p:nvSpPr>
        <p:spPr bwMode="auto">
          <a:xfrm>
            <a:off x="1491785" y="1238257"/>
            <a:ext cx="7118818" cy="296362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502649" y="1238258"/>
            <a:ext cx="989139" cy="98913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502649" y="2223608"/>
            <a:ext cx="989139" cy="989139"/>
          </a:xfrm>
          <a:prstGeom prst="rect">
            <a:avLst/>
          </a:prstGeom>
          <a:solidFill>
            <a:schemeClr val="accent4">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502649" y="3212747"/>
            <a:ext cx="989139" cy="989139"/>
          </a:xfrm>
          <a:prstGeom prst="rect">
            <a:avLst/>
          </a:prstGeom>
          <a:solidFill>
            <a:schemeClr val="accent4">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3" name="Text Placeholder 3"/>
          <p:cNvSpPr txBox="1">
            <a:spLocks/>
          </p:cNvSpPr>
          <p:nvPr/>
        </p:nvSpPr>
        <p:spPr>
          <a:xfrm>
            <a:off x="1665522" y="2228589"/>
            <a:ext cx="7685312" cy="92333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lnSpc>
                <a:spcPct val="100000"/>
              </a:lnSpc>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cheaper</a:t>
            </a:r>
          </a:p>
          <a:p>
            <a:pPr marL="2381" lvl="1">
              <a:lnSpc>
                <a:spcPct val="100000"/>
              </a:lnSpc>
            </a:pPr>
            <a:r>
              <a:rPr lang="en-US" sz="1600" dirty="0">
                <a:solidFill>
                  <a:srgbClr val="5F5F5F">
                    <a:alpha val="99000"/>
                  </a:srgbClr>
                </a:solidFill>
              </a:rPr>
              <a:t>Reason: </a:t>
            </a:r>
            <a:r>
              <a:rPr lang="en-US" sz="1600" dirty="0">
                <a:solidFill>
                  <a:srgbClr val="5F5F5F">
                    <a:lumMod val="65000"/>
                    <a:alpha val="99000"/>
                  </a:srgbClr>
                </a:solidFill>
              </a:rPr>
              <a:t>There’s less admin and management work to do</a:t>
            </a:r>
          </a:p>
          <a:p>
            <a:pPr marL="2381" lvl="1">
              <a:lnSpc>
                <a:spcPct val="100000"/>
              </a:lnSpc>
            </a:pPr>
            <a:r>
              <a:rPr lang="en-US" sz="1600" dirty="0">
                <a:solidFill>
                  <a:srgbClr val="5F5F5F">
                    <a:alpha val="99000"/>
                  </a:srgbClr>
                </a:solidFill>
              </a:rPr>
              <a:t>Benefit: </a:t>
            </a:r>
            <a:r>
              <a:rPr lang="en-US" sz="1600" dirty="0">
                <a:solidFill>
                  <a:srgbClr val="5F5F5F">
                    <a:lumMod val="65000"/>
                    <a:alpha val="99000"/>
                  </a:srgbClr>
                </a:solidFill>
              </a:rPr>
              <a:t>Organizations spend less supporting applications</a:t>
            </a:r>
          </a:p>
        </p:txBody>
      </p:sp>
      <p:sp>
        <p:nvSpPr>
          <p:cNvPr id="14" name="Text Placeholder 3"/>
          <p:cNvSpPr txBox="1">
            <a:spLocks/>
          </p:cNvSpPr>
          <p:nvPr/>
        </p:nvSpPr>
        <p:spPr>
          <a:xfrm>
            <a:off x="1665522" y="1274917"/>
            <a:ext cx="7685312" cy="923330"/>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4"/>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4"/>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4"/>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lnSpc>
                <a:spcPct val="100000"/>
              </a:lnSpc>
              <a:spcAft>
                <a:spcPts val="0"/>
              </a:spcAft>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faster</a:t>
            </a:r>
          </a:p>
          <a:p>
            <a:pPr marL="2381" lvl="1">
              <a:lnSpc>
                <a:spcPct val="100000"/>
              </a:lnSpc>
            </a:pPr>
            <a:r>
              <a:rPr lang="en-US" sz="1600" dirty="0">
                <a:solidFill>
                  <a:srgbClr val="5F5F5F">
                    <a:alpha val="99000"/>
                  </a:srgbClr>
                </a:solidFill>
              </a:rPr>
              <a:t>Reason: </a:t>
            </a:r>
            <a:r>
              <a:rPr lang="en-US" sz="1600" dirty="0">
                <a:solidFill>
                  <a:srgbClr val="5F5F5F">
                    <a:lumMod val="65000"/>
                    <a:alpha val="99000"/>
                  </a:srgbClr>
                </a:solidFill>
              </a:rPr>
              <a:t>There’s less work for developers to do</a:t>
            </a:r>
          </a:p>
          <a:p>
            <a:pPr marL="2381" lvl="1">
              <a:lnSpc>
                <a:spcPct val="100000"/>
              </a:lnSpc>
            </a:pPr>
            <a:r>
              <a:rPr lang="en-US" sz="1600" dirty="0">
                <a:solidFill>
                  <a:srgbClr val="5F5F5F">
                    <a:alpha val="99000"/>
                  </a:srgbClr>
                </a:solidFill>
              </a:rPr>
              <a:t>Benefit: </a:t>
            </a:r>
            <a:r>
              <a:rPr lang="en-US" sz="1600" dirty="0">
                <a:solidFill>
                  <a:srgbClr val="5F5F5F">
                    <a:lumMod val="65000"/>
                    <a:alpha val="99000"/>
                  </a:srgbClr>
                </a:solidFill>
              </a:rPr>
              <a:t>Applications can go from idea to availability more quickly</a:t>
            </a:r>
          </a:p>
        </p:txBody>
      </p:sp>
      <p:sp>
        <p:nvSpPr>
          <p:cNvPr id="15" name="Freeform 125"/>
          <p:cNvSpPr>
            <a:spLocks noEditPoints="1"/>
          </p:cNvSpPr>
          <p:nvPr/>
        </p:nvSpPr>
        <p:spPr bwMode="black">
          <a:xfrm>
            <a:off x="731173" y="1372892"/>
            <a:ext cx="504392" cy="694525"/>
          </a:xfrm>
          <a:custGeom>
            <a:avLst/>
            <a:gdLst>
              <a:gd name="T0" fmla="*/ 447 w 867"/>
              <a:gd name="T1" fmla="*/ 1019 h 1194"/>
              <a:gd name="T2" fmla="*/ 494 w 867"/>
              <a:gd name="T3" fmla="*/ 180 h 1194"/>
              <a:gd name="T4" fmla="*/ 292 w 867"/>
              <a:gd name="T5" fmla="*/ 541 h 1194"/>
              <a:gd name="T6" fmla="*/ 433 w 867"/>
              <a:gd name="T7" fmla="*/ 408 h 1194"/>
              <a:gd name="T8" fmla="*/ 413 w 867"/>
              <a:gd name="T9" fmla="*/ 804 h 1194"/>
              <a:gd name="T10" fmla="*/ 174 w 867"/>
              <a:gd name="T11" fmla="*/ 773 h 1194"/>
              <a:gd name="T12" fmla="*/ 552 w 867"/>
              <a:gd name="T13" fmla="*/ 528 h 1194"/>
              <a:gd name="T14" fmla="*/ 277 w 867"/>
              <a:gd name="T15" fmla="*/ 1057 h 1194"/>
              <a:gd name="T16" fmla="*/ 693 w 867"/>
              <a:gd name="T17" fmla="*/ 773 h 1194"/>
              <a:gd name="T18" fmla="*/ 447 w 867"/>
              <a:gd name="T19" fmla="*/ 1019 h 1194"/>
              <a:gd name="T20" fmla="*/ 447 w 867"/>
              <a:gd name="T21" fmla="*/ 500 h 1194"/>
              <a:gd name="T22" fmla="*/ 552 w 867"/>
              <a:gd name="T23" fmla="*/ 991 h 1194"/>
              <a:gd name="T24" fmla="*/ 202 w 867"/>
              <a:gd name="T25" fmla="*/ 641 h 1194"/>
              <a:gd name="T26" fmla="*/ 717 w 867"/>
              <a:gd name="T27" fmla="*/ 939 h 1194"/>
              <a:gd name="T28" fmla="*/ 315 w 867"/>
              <a:gd name="T29" fmla="*/ 528 h 1194"/>
              <a:gd name="T30" fmla="*/ 665 w 867"/>
              <a:gd name="T31" fmla="*/ 641 h 1194"/>
              <a:gd name="T32" fmla="*/ 432 w 867"/>
              <a:gd name="T33" fmla="*/ 517 h 1194"/>
              <a:gd name="T34" fmla="*/ 150 w 867"/>
              <a:gd name="T35" fmla="*/ 939 h 1194"/>
              <a:gd name="T36" fmla="*/ 575 w 867"/>
              <a:gd name="T37" fmla="*/ 541 h 1194"/>
              <a:gd name="T38" fmla="*/ 315 w 867"/>
              <a:gd name="T39" fmla="*/ 991 h 1194"/>
              <a:gd name="T40" fmla="*/ 433 w 867"/>
              <a:gd name="T41" fmla="*/ 1112 h 1194"/>
              <a:gd name="T42" fmla="*/ 457 w 867"/>
              <a:gd name="T43" fmla="*/ 847 h 1194"/>
              <a:gd name="T44" fmla="*/ 98 w 867"/>
              <a:gd name="T45" fmla="*/ 747 h 1194"/>
              <a:gd name="T46" fmla="*/ 590 w 867"/>
              <a:gd name="T47" fmla="*/ 1057 h 1194"/>
              <a:gd name="T48" fmla="*/ 215 w 867"/>
              <a:gd name="T49" fmla="*/ 619 h 1194"/>
              <a:gd name="T50" fmla="*/ 769 w 867"/>
              <a:gd name="T51" fmla="*/ 747 h 1194"/>
              <a:gd name="T52" fmla="*/ 420 w 867"/>
              <a:gd name="T53" fmla="*/ 1095 h 1194"/>
              <a:gd name="T54" fmla="*/ 420 w 867"/>
              <a:gd name="T55" fmla="*/ 425 h 1194"/>
              <a:gd name="T56" fmla="*/ 454 w 867"/>
              <a:gd name="T57" fmla="*/ 804 h 1194"/>
              <a:gd name="T58" fmla="*/ 215 w 867"/>
              <a:gd name="T59" fmla="*/ 901 h 1194"/>
              <a:gd name="T60" fmla="*/ 665 w 867"/>
              <a:gd name="T61" fmla="*/ 878 h 1194"/>
              <a:gd name="T62" fmla="*/ 255 w 867"/>
              <a:gd name="T63" fmla="*/ 476 h 1194"/>
              <a:gd name="T64" fmla="*/ 433 w 867"/>
              <a:gd name="T65" fmla="*/ 1155 h 1194"/>
              <a:gd name="T66" fmla="*/ 292 w 867"/>
              <a:gd name="T67" fmla="*/ 541 h 1194"/>
              <a:gd name="T68" fmla="*/ 652 w 867"/>
              <a:gd name="T69" fmla="*/ 619 h 1194"/>
              <a:gd name="T70" fmla="*/ 447 w 867"/>
              <a:gd name="T71" fmla="*/ 713 h 1194"/>
              <a:gd name="T72" fmla="*/ 137 w 867"/>
              <a:gd name="T73" fmla="*/ 916 h 1194"/>
              <a:gd name="T74" fmla="*/ 717 w 867"/>
              <a:gd name="T75" fmla="*/ 939 h 1194"/>
              <a:gd name="T76" fmla="*/ 277 w 867"/>
              <a:gd name="T77" fmla="*/ 1057 h 1194"/>
              <a:gd name="T78" fmla="*/ 786 w 867"/>
              <a:gd name="T79" fmla="*/ 760 h 1194"/>
              <a:gd name="T80" fmla="*/ 410 w 867"/>
              <a:gd name="T81" fmla="*/ 847 h 1194"/>
              <a:gd name="T82" fmla="*/ 174 w 867"/>
              <a:gd name="T83" fmla="*/ 747 h 1194"/>
              <a:gd name="T84" fmla="*/ 575 w 867"/>
              <a:gd name="T85" fmla="*/ 541 h 1194"/>
              <a:gd name="T86" fmla="*/ 202 w 867"/>
              <a:gd name="T87" fmla="*/ 641 h 1194"/>
              <a:gd name="T88" fmla="*/ 769 w 867"/>
              <a:gd name="T89" fmla="*/ 773 h 1194"/>
              <a:gd name="T90" fmla="*/ 420 w 867"/>
              <a:gd name="T91" fmla="*/ 1019 h 1194"/>
              <a:gd name="T92" fmla="*/ 447 w 867"/>
              <a:gd name="T93" fmla="*/ 425 h 1194"/>
              <a:gd name="T94" fmla="*/ 590 w 867"/>
              <a:gd name="T95" fmla="*/ 1057 h 1194"/>
              <a:gd name="T96" fmla="*/ 150 w 867"/>
              <a:gd name="T97" fmla="*/ 939 h 1194"/>
              <a:gd name="T98" fmla="*/ 730 w 867"/>
              <a:gd name="T99" fmla="*/ 916 h 1194"/>
              <a:gd name="T100" fmla="*/ 277 w 867"/>
              <a:gd name="T101" fmla="*/ 463 h 1194"/>
              <a:gd name="T102" fmla="*/ 730 w 867"/>
              <a:gd name="T103" fmla="*/ 603 h 1194"/>
              <a:gd name="T104" fmla="*/ 419 w 867"/>
              <a:gd name="T105" fmla="*/ 713 h 1194"/>
              <a:gd name="T106" fmla="*/ 98 w 867"/>
              <a:gd name="T107" fmla="*/ 747 h 1194"/>
              <a:gd name="T108" fmla="*/ 612 w 867"/>
              <a:gd name="T109" fmla="*/ 476 h 1194"/>
              <a:gd name="T110" fmla="*/ 292 w 867"/>
              <a:gd name="T111" fmla="*/ 978 h 1194"/>
              <a:gd name="T112" fmla="*/ 81 w 867"/>
              <a:gd name="T113" fmla="*/ 760 h 1194"/>
              <a:gd name="T114" fmla="*/ 454 w 867"/>
              <a:gd name="T115" fmla="*/ 804 h 1194"/>
              <a:gd name="T116" fmla="*/ 420 w 867"/>
              <a:gd name="T117" fmla="*/ 425 h 1194"/>
              <a:gd name="T118" fmla="*/ 612 w 867"/>
              <a:gd name="T119" fmla="*/ 1043 h 1194"/>
              <a:gd name="T120" fmla="*/ 150 w 867"/>
              <a:gd name="T121" fmla="*/ 581 h 1194"/>
              <a:gd name="T122" fmla="*/ 693 w 867"/>
              <a:gd name="T123" fmla="*/ 747 h 1194"/>
              <a:gd name="T124" fmla="*/ 447 w 867"/>
              <a:gd name="T125" fmla="*/ 1095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67" h="1194">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398" y="135"/>
                </a:moveTo>
                <a:cubicBezTo>
                  <a:pt x="398" y="290"/>
                  <a:pt x="398" y="290"/>
                  <a:pt x="398" y="290"/>
                </a:cubicBezTo>
                <a:cubicBezTo>
                  <a:pt x="469" y="290"/>
                  <a:pt x="469" y="290"/>
                  <a:pt x="469" y="290"/>
                </a:cubicBezTo>
                <a:cubicBezTo>
                  <a:pt x="469" y="135"/>
                  <a:pt x="469" y="135"/>
                  <a:pt x="469" y="135"/>
                </a:cubicBezTo>
                <a:lnTo>
                  <a:pt x="398" y="135"/>
                </a:lnTo>
                <a:close/>
                <a:moveTo>
                  <a:pt x="433" y="0"/>
                </a:moveTo>
                <a:cubicBezTo>
                  <a:pt x="368" y="0"/>
                  <a:pt x="314" y="54"/>
                  <a:pt x="314" y="119"/>
                </a:cubicBezTo>
                <a:cubicBezTo>
                  <a:pt x="314" y="163"/>
                  <a:pt x="338" y="201"/>
                  <a:pt x="373" y="222"/>
                </a:cubicBezTo>
                <a:cubicBezTo>
                  <a:pt x="373" y="180"/>
                  <a:pt x="373" y="180"/>
                  <a:pt x="373" y="180"/>
                </a:cubicBezTo>
                <a:cubicBezTo>
                  <a:pt x="357" y="164"/>
                  <a:pt x="348" y="143"/>
                  <a:pt x="348" y="119"/>
                </a:cubicBezTo>
                <a:cubicBezTo>
                  <a:pt x="348" y="72"/>
                  <a:pt x="386" y="34"/>
                  <a:pt x="433" y="34"/>
                </a:cubicBezTo>
                <a:cubicBezTo>
                  <a:pt x="481" y="34"/>
                  <a:pt x="519" y="72"/>
                  <a:pt x="519" y="119"/>
                </a:cubicBezTo>
                <a:cubicBezTo>
                  <a:pt x="519" y="143"/>
                  <a:pt x="510" y="164"/>
                  <a:pt x="494" y="180"/>
                </a:cubicBezTo>
                <a:cubicBezTo>
                  <a:pt x="494" y="222"/>
                  <a:pt x="494" y="222"/>
                  <a:pt x="494" y="222"/>
                </a:cubicBezTo>
                <a:cubicBezTo>
                  <a:pt x="529" y="201"/>
                  <a:pt x="553" y="163"/>
                  <a:pt x="553" y="119"/>
                </a:cubicBezTo>
                <a:cubicBezTo>
                  <a:pt x="553" y="54"/>
                  <a:pt x="499" y="0"/>
                  <a:pt x="433" y="0"/>
                </a:cubicBezTo>
                <a:close/>
                <a:moveTo>
                  <a:pt x="725" y="277"/>
                </a:moveTo>
                <a:cubicBezTo>
                  <a:pt x="672" y="353"/>
                  <a:pt x="672" y="353"/>
                  <a:pt x="672" y="353"/>
                </a:cubicBezTo>
                <a:cubicBezTo>
                  <a:pt x="730" y="393"/>
                  <a:pt x="730" y="393"/>
                  <a:pt x="730" y="393"/>
                </a:cubicBezTo>
                <a:cubicBezTo>
                  <a:pt x="783" y="317"/>
                  <a:pt x="783" y="317"/>
                  <a:pt x="783" y="317"/>
                </a:cubicBezTo>
                <a:lnTo>
                  <a:pt x="725" y="277"/>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326"/>
                </a:moveTo>
                <a:cubicBezTo>
                  <a:pt x="195" y="326"/>
                  <a:pt x="0" y="521"/>
                  <a:pt x="0" y="760"/>
                </a:cubicBezTo>
                <a:cubicBezTo>
                  <a:pt x="0" y="999"/>
                  <a:pt x="195" y="1194"/>
                  <a:pt x="433" y="1194"/>
                </a:cubicBezTo>
                <a:cubicBezTo>
                  <a:pt x="672" y="1194"/>
                  <a:pt x="867" y="999"/>
                  <a:pt x="867" y="760"/>
                </a:cubicBezTo>
                <a:cubicBezTo>
                  <a:pt x="867" y="521"/>
                  <a:pt x="672" y="326"/>
                  <a:pt x="433" y="326"/>
                </a:cubicBezTo>
                <a:close/>
                <a:moveTo>
                  <a:pt x="433" y="1155"/>
                </a:moveTo>
                <a:cubicBezTo>
                  <a:pt x="216" y="1155"/>
                  <a:pt x="39" y="977"/>
                  <a:pt x="39" y="760"/>
                </a:cubicBezTo>
                <a:cubicBezTo>
                  <a:pt x="39" y="542"/>
                  <a:pt x="216" y="365"/>
                  <a:pt x="433" y="365"/>
                </a:cubicBezTo>
                <a:cubicBezTo>
                  <a:pt x="651" y="365"/>
                  <a:pt x="828" y="542"/>
                  <a:pt x="828" y="760"/>
                </a:cubicBezTo>
                <a:cubicBezTo>
                  <a:pt x="828" y="977"/>
                  <a:pt x="651" y="1155"/>
                  <a:pt x="433" y="1155"/>
                </a:cubicBez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moveTo>
                  <a:pt x="433" y="408"/>
                </a:moveTo>
                <a:cubicBezTo>
                  <a:pt x="240" y="408"/>
                  <a:pt x="81" y="566"/>
                  <a:pt x="81" y="760"/>
                </a:cubicBezTo>
                <a:cubicBezTo>
                  <a:pt x="81" y="954"/>
                  <a:pt x="240" y="1112"/>
                  <a:pt x="433" y="1112"/>
                </a:cubicBezTo>
                <a:cubicBezTo>
                  <a:pt x="627" y="1112"/>
                  <a:pt x="786" y="954"/>
                  <a:pt x="786" y="760"/>
                </a:cubicBezTo>
                <a:cubicBezTo>
                  <a:pt x="786" y="566"/>
                  <a:pt x="627" y="408"/>
                  <a:pt x="433" y="408"/>
                </a:cubicBezTo>
                <a:close/>
                <a:moveTo>
                  <a:pt x="717" y="581"/>
                </a:moveTo>
                <a:cubicBezTo>
                  <a:pt x="730" y="603"/>
                  <a:pt x="730" y="603"/>
                  <a:pt x="730" y="603"/>
                </a:cubicBezTo>
                <a:cubicBezTo>
                  <a:pt x="665" y="641"/>
                  <a:pt x="665" y="641"/>
                  <a:pt x="665" y="641"/>
                </a:cubicBezTo>
                <a:cubicBezTo>
                  <a:pt x="652" y="619"/>
                  <a:pt x="652" y="619"/>
                  <a:pt x="652" y="619"/>
                </a:cubicBezTo>
                <a:lnTo>
                  <a:pt x="717" y="581"/>
                </a:lnTo>
                <a:close/>
                <a:moveTo>
                  <a:pt x="420" y="425"/>
                </a:moveTo>
                <a:cubicBezTo>
                  <a:pt x="447" y="425"/>
                  <a:pt x="447" y="425"/>
                  <a:pt x="447" y="425"/>
                </a:cubicBezTo>
                <a:cubicBezTo>
                  <a:pt x="447" y="500"/>
                  <a:pt x="447" y="500"/>
                  <a:pt x="447" y="500"/>
                </a:cubicBezTo>
                <a:cubicBezTo>
                  <a:pt x="420" y="500"/>
                  <a:pt x="420" y="500"/>
                  <a:pt x="420" y="500"/>
                </a:cubicBezTo>
                <a:lnTo>
                  <a:pt x="420" y="425"/>
                </a:lnTo>
                <a:close/>
                <a:moveTo>
                  <a:pt x="98" y="747"/>
                </a:moveTo>
                <a:cubicBezTo>
                  <a:pt x="174" y="747"/>
                  <a:pt x="174" y="747"/>
                  <a:pt x="174" y="747"/>
                </a:cubicBezTo>
                <a:cubicBezTo>
                  <a:pt x="174" y="773"/>
                  <a:pt x="174" y="773"/>
                  <a:pt x="174" y="773"/>
                </a:cubicBezTo>
                <a:cubicBezTo>
                  <a:pt x="98" y="773"/>
                  <a:pt x="98" y="773"/>
                  <a:pt x="98" y="773"/>
                </a:cubicBezTo>
                <a:lnTo>
                  <a:pt x="98" y="747"/>
                </a:lnTo>
                <a:close/>
                <a:moveTo>
                  <a:pt x="150" y="939"/>
                </a:moveTo>
                <a:cubicBezTo>
                  <a:pt x="137" y="916"/>
                  <a:pt x="137" y="916"/>
                  <a:pt x="137" y="916"/>
                </a:cubicBezTo>
                <a:cubicBezTo>
                  <a:pt x="202" y="878"/>
                  <a:pt x="202" y="878"/>
                  <a:pt x="202" y="878"/>
                </a:cubicBezTo>
                <a:cubicBezTo>
                  <a:pt x="215" y="901"/>
                  <a:pt x="215" y="901"/>
                  <a:pt x="215" y="901"/>
                </a:cubicBezTo>
                <a:lnTo>
                  <a:pt x="150" y="939"/>
                </a:lnTo>
                <a:close/>
                <a:moveTo>
                  <a:pt x="202" y="641"/>
                </a:moveTo>
                <a:cubicBezTo>
                  <a:pt x="137" y="603"/>
                  <a:pt x="137" y="603"/>
                  <a:pt x="137" y="603"/>
                </a:cubicBezTo>
                <a:cubicBezTo>
                  <a:pt x="150" y="581"/>
                  <a:pt x="150" y="581"/>
                  <a:pt x="150" y="581"/>
                </a:cubicBezTo>
                <a:cubicBezTo>
                  <a:pt x="215" y="619"/>
                  <a:pt x="215" y="619"/>
                  <a:pt x="215" y="619"/>
                </a:cubicBezTo>
                <a:lnTo>
                  <a:pt x="202" y="641"/>
                </a:lnTo>
                <a:close/>
                <a:moveTo>
                  <a:pt x="277" y="1057"/>
                </a:moveTo>
                <a:cubicBezTo>
                  <a:pt x="255" y="1043"/>
                  <a:pt x="255" y="1043"/>
                  <a:pt x="255" y="1043"/>
                </a:cubicBezTo>
                <a:cubicBezTo>
                  <a:pt x="292" y="978"/>
                  <a:pt x="292" y="978"/>
                  <a:pt x="292" y="978"/>
                </a:cubicBezTo>
                <a:cubicBezTo>
                  <a:pt x="315" y="991"/>
                  <a:pt x="315" y="991"/>
                  <a:pt x="315" y="991"/>
                </a:cubicBezTo>
                <a:lnTo>
                  <a:pt x="277" y="1057"/>
                </a:lnTo>
                <a:close/>
                <a:moveTo>
                  <a:pt x="292" y="541"/>
                </a:moveTo>
                <a:cubicBezTo>
                  <a:pt x="255" y="476"/>
                  <a:pt x="255" y="476"/>
                  <a:pt x="255" y="476"/>
                </a:cubicBezTo>
                <a:cubicBezTo>
                  <a:pt x="277" y="463"/>
                  <a:pt x="277" y="463"/>
                  <a:pt x="277" y="463"/>
                </a:cubicBezTo>
                <a:cubicBezTo>
                  <a:pt x="315" y="528"/>
                  <a:pt x="315" y="528"/>
                  <a:pt x="315" y="528"/>
                </a:cubicBezTo>
                <a:lnTo>
                  <a:pt x="292" y="541"/>
                </a:lnTo>
                <a:close/>
                <a:moveTo>
                  <a:pt x="447" y="1095"/>
                </a:moveTo>
                <a:cubicBezTo>
                  <a:pt x="420" y="1095"/>
                  <a:pt x="420" y="1095"/>
                  <a:pt x="420" y="1095"/>
                </a:cubicBezTo>
                <a:cubicBezTo>
                  <a:pt x="420" y="1019"/>
                  <a:pt x="420" y="1019"/>
                  <a:pt x="420" y="1019"/>
                </a:cubicBezTo>
                <a:cubicBezTo>
                  <a:pt x="447" y="1019"/>
                  <a:pt x="447" y="1019"/>
                  <a:pt x="447" y="1019"/>
                </a:cubicBezTo>
                <a:lnTo>
                  <a:pt x="447" y="1095"/>
                </a:lnTo>
                <a:close/>
                <a:moveTo>
                  <a:pt x="454" y="804"/>
                </a:moveTo>
                <a:cubicBezTo>
                  <a:pt x="457" y="847"/>
                  <a:pt x="457" y="847"/>
                  <a:pt x="457" y="847"/>
                </a:cubicBezTo>
                <a:cubicBezTo>
                  <a:pt x="410" y="847"/>
                  <a:pt x="410" y="847"/>
                  <a:pt x="410" y="847"/>
                </a:cubicBezTo>
                <a:cubicBezTo>
                  <a:pt x="413" y="804"/>
                  <a:pt x="413" y="804"/>
                  <a:pt x="413" y="804"/>
                </a:cubicBezTo>
                <a:cubicBezTo>
                  <a:pt x="396" y="796"/>
                  <a:pt x="384" y="779"/>
                  <a:pt x="384" y="760"/>
                </a:cubicBezTo>
                <a:cubicBezTo>
                  <a:pt x="384" y="738"/>
                  <a:pt x="399" y="719"/>
                  <a:pt x="419" y="713"/>
                </a:cubicBezTo>
                <a:cubicBezTo>
                  <a:pt x="432" y="517"/>
                  <a:pt x="432" y="517"/>
                  <a:pt x="432" y="517"/>
                </a:cubicBezTo>
                <a:cubicBezTo>
                  <a:pt x="447" y="713"/>
                  <a:pt x="447" y="713"/>
                  <a:pt x="447" y="713"/>
                </a:cubicBezTo>
                <a:cubicBezTo>
                  <a:pt x="467" y="719"/>
                  <a:pt x="482" y="738"/>
                  <a:pt x="482" y="760"/>
                </a:cubicBezTo>
                <a:cubicBezTo>
                  <a:pt x="482" y="779"/>
                  <a:pt x="471" y="796"/>
                  <a:pt x="454" y="804"/>
                </a:cubicBezTo>
                <a:close/>
                <a:moveTo>
                  <a:pt x="590" y="1057"/>
                </a:moveTo>
                <a:cubicBezTo>
                  <a:pt x="552" y="991"/>
                  <a:pt x="552" y="991"/>
                  <a:pt x="552" y="991"/>
                </a:cubicBezTo>
                <a:cubicBezTo>
                  <a:pt x="575" y="978"/>
                  <a:pt x="575" y="978"/>
                  <a:pt x="575" y="978"/>
                </a:cubicBezTo>
                <a:cubicBezTo>
                  <a:pt x="612" y="1043"/>
                  <a:pt x="612" y="1043"/>
                  <a:pt x="612" y="1043"/>
                </a:cubicBezTo>
                <a:lnTo>
                  <a:pt x="590" y="1057"/>
                </a:lnTo>
                <a:close/>
                <a:moveTo>
                  <a:pt x="575" y="541"/>
                </a:moveTo>
                <a:cubicBezTo>
                  <a:pt x="552" y="528"/>
                  <a:pt x="552" y="528"/>
                  <a:pt x="552" y="528"/>
                </a:cubicBezTo>
                <a:cubicBezTo>
                  <a:pt x="590" y="463"/>
                  <a:pt x="590" y="463"/>
                  <a:pt x="590" y="463"/>
                </a:cubicBezTo>
                <a:cubicBezTo>
                  <a:pt x="612" y="476"/>
                  <a:pt x="612" y="476"/>
                  <a:pt x="612" y="476"/>
                </a:cubicBezTo>
                <a:lnTo>
                  <a:pt x="575" y="541"/>
                </a:lnTo>
                <a:close/>
                <a:moveTo>
                  <a:pt x="717" y="939"/>
                </a:moveTo>
                <a:cubicBezTo>
                  <a:pt x="652" y="901"/>
                  <a:pt x="652" y="901"/>
                  <a:pt x="652" y="901"/>
                </a:cubicBezTo>
                <a:cubicBezTo>
                  <a:pt x="665" y="878"/>
                  <a:pt x="665" y="878"/>
                  <a:pt x="665" y="878"/>
                </a:cubicBezTo>
                <a:cubicBezTo>
                  <a:pt x="730" y="916"/>
                  <a:pt x="730" y="916"/>
                  <a:pt x="730" y="916"/>
                </a:cubicBezTo>
                <a:lnTo>
                  <a:pt x="717" y="939"/>
                </a:lnTo>
                <a:close/>
                <a:moveTo>
                  <a:pt x="693" y="773"/>
                </a:moveTo>
                <a:cubicBezTo>
                  <a:pt x="693" y="747"/>
                  <a:pt x="693" y="747"/>
                  <a:pt x="693" y="747"/>
                </a:cubicBezTo>
                <a:cubicBezTo>
                  <a:pt x="769" y="747"/>
                  <a:pt x="769" y="747"/>
                  <a:pt x="769" y="747"/>
                </a:cubicBezTo>
                <a:cubicBezTo>
                  <a:pt x="769" y="773"/>
                  <a:pt x="769" y="773"/>
                  <a:pt x="769" y="773"/>
                </a:cubicBezTo>
                <a:lnTo>
                  <a:pt x="693" y="77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6" name="Freeform 9"/>
          <p:cNvSpPr>
            <a:spLocks noChangeAspect="1"/>
          </p:cNvSpPr>
          <p:nvPr/>
        </p:nvSpPr>
        <p:spPr bwMode="black">
          <a:xfrm>
            <a:off x="854737" y="2446459"/>
            <a:ext cx="341446" cy="588613"/>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solidFill>
            <a:srgbClr val="FFFFFF"/>
          </a:solidFill>
          <a:ln w="31750" cap="sq">
            <a:noFill/>
            <a:miter lim="800000"/>
            <a:headEnd/>
            <a:tailEnd/>
          </a:ln>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7" name="Freeform 164"/>
          <p:cNvSpPr>
            <a:spLocks noEditPoints="1"/>
          </p:cNvSpPr>
          <p:nvPr/>
        </p:nvSpPr>
        <p:spPr bwMode="black">
          <a:xfrm>
            <a:off x="811648" y="3445205"/>
            <a:ext cx="398267" cy="552159"/>
          </a:xfrm>
          <a:custGeom>
            <a:avLst/>
            <a:gdLst>
              <a:gd name="T0" fmla="*/ 221 w 288"/>
              <a:gd name="T1" fmla="*/ 373 h 399"/>
              <a:gd name="T2" fmla="*/ 194 w 288"/>
              <a:gd name="T3" fmla="*/ 350 h 399"/>
              <a:gd name="T4" fmla="*/ 137 w 288"/>
              <a:gd name="T5" fmla="*/ 150 h 399"/>
              <a:gd name="T6" fmla="*/ 165 w 288"/>
              <a:gd name="T7" fmla="*/ 398 h 399"/>
              <a:gd name="T8" fmla="*/ 94 w 288"/>
              <a:gd name="T9" fmla="*/ 325 h 399"/>
              <a:gd name="T10" fmla="*/ 192 w 288"/>
              <a:gd name="T11" fmla="*/ 269 h 399"/>
              <a:gd name="T12" fmla="*/ 223 w 288"/>
              <a:gd name="T13" fmla="*/ 371 h 399"/>
              <a:gd name="T14" fmla="*/ 135 w 288"/>
              <a:gd name="T15" fmla="*/ 170 h 399"/>
              <a:gd name="T16" fmla="*/ 179 w 288"/>
              <a:gd name="T17" fmla="*/ 395 h 399"/>
              <a:gd name="T18" fmla="*/ 135 w 288"/>
              <a:gd name="T19" fmla="*/ 324 h 399"/>
              <a:gd name="T20" fmla="*/ 154 w 288"/>
              <a:gd name="T21" fmla="*/ 308 h 399"/>
              <a:gd name="T22" fmla="*/ 208 w 288"/>
              <a:gd name="T23" fmla="*/ 382 h 399"/>
              <a:gd name="T24" fmla="*/ 85 w 288"/>
              <a:gd name="T25" fmla="*/ 380 h 399"/>
              <a:gd name="T26" fmla="*/ 143 w 288"/>
              <a:gd name="T27" fmla="*/ 82 h 399"/>
              <a:gd name="T28" fmla="*/ 228 w 288"/>
              <a:gd name="T29" fmla="*/ 288 h 399"/>
              <a:gd name="T30" fmla="*/ 253 w 288"/>
              <a:gd name="T31" fmla="*/ 340 h 399"/>
              <a:gd name="T32" fmla="*/ 247 w 288"/>
              <a:gd name="T33" fmla="*/ 233 h 399"/>
              <a:gd name="T34" fmla="*/ 20 w 288"/>
              <a:gd name="T35" fmla="*/ 263 h 399"/>
              <a:gd name="T36" fmla="*/ 85 w 288"/>
              <a:gd name="T37" fmla="*/ 380 h 399"/>
              <a:gd name="T38" fmla="*/ 219 w 288"/>
              <a:gd name="T39" fmla="*/ 242 h 399"/>
              <a:gd name="T40" fmla="*/ 56 w 288"/>
              <a:gd name="T41" fmla="*/ 305 h 399"/>
              <a:gd name="T42" fmla="*/ 129 w 288"/>
              <a:gd name="T43" fmla="*/ 397 h 399"/>
              <a:gd name="T44" fmla="*/ 137 w 288"/>
              <a:gd name="T45" fmla="*/ 115 h 399"/>
              <a:gd name="T46" fmla="*/ 210 w 288"/>
              <a:gd name="T47" fmla="*/ 334 h 399"/>
              <a:gd name="T48" fmla="*/ 239 w 288"/>
              <a:gd name="T49" fmla="*/ 357 h 399"/>
              <a:gd name="T50" fmla="*/ 0 w 288"/>
              <a:gd name="T51" fmla="*/ 202 h 399"/>
              <a:gd name="T52" fmla="*/ 144 w 288"/>
              <a:gd name="T53" fmla="*/ 51 h 399"/>
              <a:gd name="T54" fmla="*/ 252 w 288"/>
              <a:gd name="T55" fmla="*/ 298 h 399"/>
              <a:gd name="T56" fmla="*/ 266 w 288"/>
              <a:gd name="T57" fmla="*/ 320 h 399"/>
              <a:gd name="T58" fmla="*/ 277 w 288"/>
              <a:gd name="T59" fmla="*/ 221 h 399"/>
              <a:gd name="T60" fmla="*/ 3 w 288"/>
              <a:gd name="T61" fmla="*/ 162 h 399"/>
              <a:gd name="T62" fmla="*/ 0 w 288"/>
              <a:gd name="T63" fmla="*/ 202 h 399"/>
              <a:gd name="T64" fmla="*/ 145 w 288"/>
              <a:gd name="T65" fmla="*/ 0 h 399"/>
              <a:gd name="T66" fmla="*/ 144 w 288"/>
              <a:gd name="T67" fmla="*/ 18 h 399"/>
              <a:gd name="T68" fmla="*/ 142 w 288"/>
              <a:gd name="T69" fmla="*/ 308 h 399"/>
              <a:gd name="T70" fmla="*/ 137 w 288"/>
              <a:gd name="T71" fmla="*/ 201 h 399"/>
              <a:gd name="T72" fmla="*/ 130 w 288"/>
              <a:gd name="T73" fmla="*/ 208 h 399"/>
              <a:gd name="T74" fmla="*/ 142 w 288"/>
              <a:gd name="T75" fmla="*/ 308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8" h="399">
                <a:moveTo>
                  <a:pt x="223" y="371"/>
                </a:moveTo>
                <a:cubicBezTo>
                  <a:pt x="221" y="373"/>
                  <a:pt x="221" y="373"/>
                  <a:pt x="221" y="373"/>
                </a:cubicBezTo>
                <a:cubicBezTo>
                  <a:pt x="220" y="374"/>
                  <a:pt x="218" y="375"/>
                  <a:pt x="217" y="376"/>
                </a:cubicBezTo>
                <a:cubicBezTo>
                  <a:pt x="215" y="374"/>
                  <a:pt x="205" y="366"/>
                  <a:pt x="194" y="350"/>
                </a:cubicBezTo>
                <a:cubicBezTo>
                  <a:pt x="181" y="332"/>
                  <a:pt x="177" y="299"/>
                  <a:pt x="180" y="268"/>
                </a:cubicBezTo>
                <a:cubicBezTo>
                  <a:pt x="186" y="212"/>
                  <a:pt x="180" y="148"/>
                  <a:pt x="137" y="150"/>
                </a:cubicBezTo>
                <a:cubicBezTo>
                  <a:pt x="90" y="152"/>
                  <a:pt x="69" y="245"/>
                  <a:pt x="106" y="319"/>
                </a:cubicBezTo>
                <a:cubicBezTo>
                  <a:pt x="125" y="357"/>
                  <a:pt x="150" y="384"/>
                  <a:pt x="165" y="398"/>
                </a:cubicBezTo>
                <a:cubicBezTo>
                  <a:pt x="161" y="398"/>
                  <a:pt x="157" y="399"/>
                  <a:pt x="153" y="399"/>
                </a:cubicBezTo>
                <a:cubicBezTo>
                  <a:pt x="137" y="384"/>
                  <a:pt x="115" y="364"/>
                  <a:pt x="94" y="325"/>
                </a:cubicBezTo>
                <a:cubicBezTo>
                  <a:pt x="46" y="236"/>
                  <a:pt x="82" y="134"/>
                  <a:pt x="137" y="134"/>
                </a:cubicBezTo>
                <a:cubicBezTo>
                  <a:pt x="195" y="134"/>
                  <a:pt x="201" y="201"/>
                  <a:pt x="192" y="269"/>
                </a:cubicBezTo>
                <a:cubicBezTo>
                  <a:pt x="188" y="301"/>
                  <a:pt x="191" y="329"/>
                  <a:pt x="202" y="346"/>
                </a:cubicBezTo>
                <a:cubicBezTo>
                  <a:pt x="213" y="363"/>
                  <a:pt x="224" y="370"/>
                  <a:pt x="223" y="371"/>
                </a:cubicBezTo>
                <a:close/>
                <a:moveTo>
                  <a:pt x="166" y="306"/>
                </a:moveTo>
                <a:cubicBezTo>
                  <a:pt x="163" y="275"/>
                  <a:pt x="185" y="172"/>
                  <a:pt x="135" y="170"/>
                </a:cubicBezTo>
                <a:cubicBezTo>
                  <a:pt x="104" y="169"/>
                  <a:pt x="77" y="248"/>
                  <a:pt x="125" y="329"/>
                </a:cubicBezTo>
                <a:cubicBezTo>
                  <a:pt x="143" y="361"/>
                  <a:pt x="166" y="383"/>
                  <a:pt x="179" y="395"/>
                </a:cubicBezTo>
                <a:cubicBezTo>
                  <a:pt x="182" y="394"/>
                  <a:pt x="185" y="393"/>
                  <a:pt x="188" y="392"/>
                </a:cubicBezTo>
                <a:cubicBezTo>
                  <a:pt x="177" y="381"/>
                  <a:pt x="153" y="358"/>
                  <a:pt x="135" y="324"/>
                </a:cubicBezTo>
                <a:cubicBezTo>
                  <a:pt x="101" y="266"/>
                  <a:pt x="110" y="186"/>
                  <a:pt x="135" y="186"/>
                </a:cubicBezTo>
                <a:cubicBezTo>
                  <a:pt x="168" y="186"/>
                  <a:pt x="149" y="268"/>
                  <a:pt x="154" y="308"/>
                </a:cubicBezTo>
                <a:cubicBezTo>
                  <a:pt x="160" y="352"/>
                  <a:pt x="187" y="377"/>
                  <a:pt x="200" y="386"/>
                </a:cubicBezTo>
                <a:cubicBezTo>
                  <a:pt x="203" y="385"/>
                  <a:pt x="205" y="384"/>
                  <a:pt x="208" y="382"/>
                </a:cubicBezTo>
                <a:cubicBezTo>
                  <a:pt x="199" y="375"/>
                  <a:pt x="170" y="350"/>
                  <a:pt x="166" y="306"/>
                </a:cubicBezTo>
                <a:close/>
                <a:moveTo>
                  <a:pt x="85" y="380"/>
                </a:moveTo>
                <a:cubicBezTo>
                  <a:pt x="65" y="357"/>
                  <a:pt x="36" y="313"/>
                  <a:pt x="31" y="261"/>
                </a:cubicBezTo>
                <a:cubicBezTo>
                  <a:pt x="25" y="164"/>
                  <a:pt x="66" y="82"/>
                  <a:pt x="143" y="82"/>
                </a:cubicBezTo>
                <a:cubicBezTo>
                  <a:pt x="213" y="82"/>
                  <a:pt x="241" y="157"/>
                  <a:pt x="235" y="231"/>
                </a:cubicBezTo>
                <a:cubicBezTo>
                  <a:pt x="234" y="251"/>
                  <a:pt x="228" y="269"/>
                  <a:pt x="228" y="288"/>
                </a:cubicBezTo>
                <a:cubicBezTo>
                  <a:pt x="227" y="320"/>
                  <a:pt x="236" y="334"/>
                  <a:pt x="248" y="347"/>
                </a:cubicBezTo>
                <a:cubicBezTo>
                  <a:pt x="250" y="345"/>
                  <a:pt x="251" y="343"/>
                  <a:pt x="253" y="340"/>
                </a:cubicBezTo>
                <a:cubicBezTo>
                  <a:pt x="246" y="330"/>
                  <a:pt x="237" y="313"/>
                  <a:pt x="238" y="289"/>
                </a:cubicBezTo>
                <a:cubicBezTo>
                  <a:pt x="239" y="273"/>
                  <a:pt x="243" y="254"/>
                  <a:pt x="247" y="233"/>
                </a:cubicBezTo>
                <a:cubicBezTo>
                  <a:pt x="257" y="169"/>
                  <a:pt x="233" y="66"/>
                  <a:pt x="143" y="65"/>
                </a:cubicBezTo>
                <a:cubicBezTo>
                  <a:pt x="77" y="64"/>
                  <a:pt x="7" y="129"/>
                  <a:pt x="20" y="263"/>
                </a:cubicBezTo>
                <a:cubicBezTo>
                  <a:pt x="24" y="299"/>
                  <a:pt x="39" y="330"/>
                  <a:pt x="54" y="354"/>
                </a:cubicBezTo>
                <a:cubicBezTo>
                  <a:pt x="64" y="365"/>
                  <a:pt x="74" y="373"/>
                  <a:pt x="85" y="380"/>
                </a:cubicBezTo>
                <a:close/>
                <a:moveTo>
                  <a:pt x="219" y="331"/>
                </a:moveTo>
                <a:cubicBezTo>
                  <a:pt x="211" y="309"/>
                  <a:pt x="212" y="277"/>
                  <a:pt x="219" y="242"/>
                </a:cubicBezTo>
                <a:cubicBezTo>
                  <a:pt x="228" y="183"/>
                  <a:pt x="216" y="99"/>
                  <a:pt x="137" y="99"/>
                </a:cubicBezTo>
                <a:cubicBezTo>
                  <a:pt x="73" y="99"/>
                  <a:pt x="16" y="198"/>
                  <a:pt x="56" y="305"/>
                </a:cubicBezTo>
                <a:cubicBezTo>
                  <a:pt x="72" y="346"/>
                  <a:pt x="96" y="376"/>
                  <a:pt x="113" y="393"/>
                </a:cubicBezTo>
                <a:cubicBezTo>
                  <a:pt x="118" y="395"/>
                  <a:pt x="123" y="396"/>
                  <a:pt x="129" y="397"/>
                </a:cubicBezTo>
                <a:cubicBezTo>
                  <a:pt x="113" y="382"/>
                  <a:pt x="84" y="348"/>
                  <a:pt x="67" y="300"/>
                </a:cubicBezTo>
                <a:cubicBezTo>
                  <a:pt x="37" y="213"/>
                  <a:pt x="79" y="116"/>
                  <a:pt x="137" y="115"/>
                </a:cubicBezTo>
                <a:cubicBezTo>
                  <a:pt x="189" y="114"/>
                  <a:pt x="216" y="168"/>
                  <a:pt x="208" y="239"/>
                </a:cubicBezTo>
                <a:cubicBezTo>
                  <a:pt x="201" y="274"/>
                  <a:pt x="200" y="310"/>
                  <a:pt x="210" y="334"/>
                </a:cubicBezTo>
                <a:cubicBezTo>
                  <a:pt x="217" y="351"/>
                  <a:pt x="228" y="359"/>
                  <a:pt x="233" y="363"/>
                </a:cubicBezTo>
                <a:cubicBezTo>
                  <a:pt x="235" y="361"/>
                  <a:pt x="237" y="359"/>
                  <a:pt x="239" y="357"/>
                </a:cubicBezTo>
                <a:cubicBezTo>
                  <a:pt x="235" y="354"/>
                  <a:pt x="225" y="347"/>
                  <a:pt x="219" y="331"/>
                </a:cubicBezTo>
                <a:close/>
                <a:moveTo>
                  <a:pt x="0" y="202"/>
                </a:moveTo>
                <a:cubicBezTo>
                  <a:pt x="0" y="217"/>
                  <a:pt x="1" y="231"/>
                  <a:pt x="4" y="245"/>
                </a:cubicBezTo>
                <a:cubicBezTo>
                  <a:pt x="6" y="146"/>
                  <a:pt x="40" y="49"/>
                  <a:pt x="144" y="51"/>
                </a:cubicBezTo>
                <a:cubicBezTo>
                  <a:pt x="230" y="51"/>
                  <a:pt x="271" y="143"/>
                  <a:pt x="262" y="219"/>
                </a:cubicBezTo>
                <a:cubicBezTo>
                  <a:pt x="259" y="248"/>
                  <a:pt x="252" y="276"/>
                  <a:pt x="252" y="298"/>
                </a:cubicBezTo>
                <a:cubicBezTo>
                  <a:pt x="252" y="315"/>
                  <a:pt x="258" y="326"/>
                  <a:pt x="260" y="330"/>
                </a:cubicBezTo>
                <a:cubicBezTo>
                  <a:pt x="262" y="327"/>
                  <a:pt x="264" y="323"/>
                  <a:pt x="266" y="320"/>
                </a:cubicBezTo>
                <a:cubicBezTo>
                  <a:pt x="263" y="314"/>
                  <a:pt x="261" y="308"/>
                  <a:pt x="262" y="298"/>
                </a:cubicBezTo>
                <a:cubicBezTo>
                  <a:pt x="262" y="279"/>
                  <a:pt x="272" y="252"/>
                  <a:pt x="277" y="221"/>
                </a:cubicBezTo>
                <a:cubicBezTo>
                  <a:pt x="288" y="144"/>
                  <a:pt x="247" y="31"/>
                  <a:pt x="144" y="31"/>
                </a:cubicBezTo>
                <a:cubicBezTo>
                  <a:pt x="62" y="32"/>
                  <a:pt x="18" y="92"/>
                  <a:pt x="3" y="162"/>
                </a:cubicBezTo>
                <a:cubicBezTo>
                  <a:pt x="1" y="175"/>
                  <a:pt x="0" y="188"/>
                  <a:pt x="0" y="201"/>
                </a:cubicBezTo>
                <a:cubicBezTo>
                  <a:pt x="0" y="201"/>
                  <a:pt x="0" y="202"/>
                  <a:pt x="0" y="202"/>
                </a:cubicBezTo>
                <a:close/>
                <a:moveTo>
                  <a:pt x="262" y="75"/>
                </a:moveTo>
                <a:cubicBezTo>
                  <a:pt x="244" y="44"/>
                  <a:pt x="206" y="0"/>
                  <a:pt x="145" y="0"/>
                </a:cubicBezTo>
                <a:cubicBezTo>
                  <a:pt x="108" y="0"/>
                  <a:pt x="80" y="18"/>
                  <a:pt x="58" y="40"/>
                </a:cubicBezTo>
                <a:cubicBezTo>
                  <a:pt x="60" y="39"/>
                  <a:pt x="91" y="18"/>
                  <a:pt x="144" y="18"/>
                </a:cubicBezTo>
                <a:cubicBezTo>
                  <a:pt x="220" y="18"/>
                  <a:pt x="262" y="75"/>
                  <a:pt x="262" y="75"/>
                </a:cubicBezTo>
                <a:close/>
                <a:moveTo>
                  <a:pt x="142" y="308"/>
                </a:moveTo>
                <a:cubicBezTo>
                  <a:pt x="140" y="294"/>
                  <a:pt x="141" y="277"/>
                  <a:pt x="142" y="260"/>
                </a:cubicBezTo>
                <a:cubicBezTo>
                  <a:pt x="143" y="238"/>
                  <a:pt x="144" y="209"/>
                  <a:pt x="137" y="201"/>
                </a:cubicBezTo>
                <a:cubicBezTo>
                  <a:pt x="137" y="201"/>
                  <a:pt x="137" y="201"/>
                  <a:pt x="135" y="201"/>
                </a:cubicBezTo>
                <a:cubicBezTo>
                  <a:pt x="135" y="201"/>
                  <a:pt x="132" y="202"/>
                  <a:pt x="130" y="208"/>
                </a:cubicBezTo>
                <a:cubicBezTo>
                  <a:pt x="122" y="227"/>
                  <a:pt x="122" y="271"/>
                  <a:pt x="141" y="308"/>
                </a:cubicBezTo>
                <a:cubicBezTo>
                  <a:pt x="141" y="309"/>
                  <a:pt x="142" y="309"/>
                  <a:pt x="142" y="3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296" tIns="41147" rIns="82296" bIns="41147" numCol="1" anchor="t" anchorCtr="0" compatLnSpc="1">
            <a:prstTxWarp prst="textNoShape">
              <a:avLst/>
            </a:prstTxWarp>
          </a:bodyPr>
          <a:lstStyle/>
          <a:p>
            <a:pPr defTabSz="914096"/>
            <a:endParaRPr lang="en-US" sz="1600">
              <a:solidFill>
                <a:srgbClr val="5F5F5F"/>
              </a:solidFill>
            </a:endParaRPr>
          </a:p>
        </p:txBody>
      </p:sp>
      <p:sp>
        <p:nvSpPr>
          <p:cNvPr id="18" name="Text Placeholder 3"/>
          <p:cNvSpPr txBox="1">
            <a:spLocks/>
          </p:cNvSpPr>
          <p:nvPr/>
        </p:nvSpPr>
        <p:spPr>
          <a:xfrm>
            <a:off x="1665522" y="3204034"/>
            <a:ext cx="7685312" cy="923330"/>
          </a:xfrm>
          <a:prstGeom prst="rect">
            <a:avLst/>
          </a:prstGeom>
        </p:spPr>
        <p:txBody>
          <a:bodyPr vert="horz" lIns="0" tIns="0" rIns="0" bIns="0" rtlCol="0">
            <a:spAutoFit/>
          </a:bodyPr>
          <a:lstStyle>
            <a:lvl1pPr marL="213142" marR="0" indent="-213142" algn="l" defTabSz="685835" rtl="0" eaLnBrk="1" fontAlgn="auto" latinLnBrk="0" hangingPunct="1">
              <a:lnSpc>
                <a:spcPct val="90000"/>
              </a:lnSpc>
              <a:spcBef>
                <a:spcPct val="20000"/>
              </a:spcBef>
              <a:spcAft>
                <a:spcPts val="0"/>
              </a:spcAft>
              <a:buClrTx/>
              <a:buSzPct val="90000"/>
              <a:buFont typeface="Wingdings" pitchFamily="2" charset="2"/>
              <a:buChar char=""/>
              <a:tabLst/>
              <a:defRPr sz="3000" kern="1200" spc="-53" baseline="0">
                <a:gradFill>
                  <a:gsLst>
                    <a:gs pos="1250">
                      <a:schemeClr val="tx1"/>
                    </a:gs>
                    <a:gs pos="100000">
                      <a:schemeClr val="tx1"/>
                    </a:gs>
                  </a:gsLst>
                  <a:lin ang="5400000" scaled="0"/>
                </a:gradFill>
                <a:latin typeface="+mj-lt"/>
                <a:ea typeface="+mn-ea"/>
                <a:cs typeface="+mn-cs"/>
              </a:defRPr>
            </a:lvl1pPr>
            <a:lvl2pPr marL="388180" marR="0" indent="-175039"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2pPr>
            <a:lvl3pPr marL="556073" marR="0" indent="-167894" algn="l" defTabSz="685835" rtl="0" eaLnBrk="1" fontAlgn="auto" latinLnBrk="0" hangingPunct="1">
              <a:lnSpc>
                <a:spcPct val="90000"/>
              </a:lnSpc>
              <a:spcBef>
                <a:spcPct val="20000"/>
              </a:spcBef>
              <a:spcAft>
                <a:spcPts val="0"/>
              </a:spcAft>
              <a:buClrTx/>
              <a:buSzPct val="90000"/>
              <a:buFont typeface="Wingdings" pitchFamily="2" charset="2"/>
              <a:buChar char=""/>
              <a:tabLst/>
              <a:defRPr sz="1800" kern="1200" spc="0" baseline="0">
                <a:gradFill>
                  <a:gsLst>
                    <a:gs pos="1250">
                      <a:schemeClr val="tx1"/>
                    </a:gs>
                    <a:gs pos="100000">
                      <a:schemeClr val="tx1"/>
                    </a:gs>
                  </a:gsLst>
                  <a:lin ang="5400000" scaled="0"/>
                </a:gradFill>
                <a:latin typeface="+mn-lt"/>
                <a:ea typeface="+mn-ea"/>
                <a:cs typeface="+mn-cs"/>
              </a:defRPr>
            </a:lvl3pPr>
            <a:lvl4pPr marL="685862"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4pPr>
            <a:lvl5pPr marL="815653" marR="0" indent="-129791" algn="l" defTabSz="685835" rtl="0" eaLnBrk="1" fontAlgn="auto" latinLnBrk="0" hangingPunct="1">
              <a:lnSpc>
                <a:spcPct val="90000"/>
              </a:lnSpc>
              <a:spcBef>
                <a:spcPct val="20000"/>
              </a:spcBef>
              <a:spcAft>
                <a:spcPts val="0"/>
              </a:spcAft>
              <a:buClrTx/>
              <a:buSzPct val="90000"/>
              <a:buFont typeface="Wingdings" pitchFamily="2" charset="2"/>
              <a:buChar char=""/>
              <a:tabLst/>
              <a:defRPr sz="1500" kern="1200" spc="0" baseline="0">
                <a:gradFill>
                  <a:gsLst>
                    <a:gs pos="1250">
                      <a:schemeClr val="tx1"/>
                    </a:gs>
                    <a:gs pos="100000">
                      <a:schemeClr val="tx1"/>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0" lvl="1" indent="0">
              <a:lnSpc>
                <a:spcPct val="100000"/>
              </a:lnSpc>
              <a:buNone/>
            </a:pPr>
            <a:r>
              <a:rPr lang="en-US" sz="2800" dirty="0" err="1">
                <a:solidFill>
                  <a:srgbClr val="8CC600">
                    <a:alpha val="99000"/>
                  </a:srgbClr>
                </a:solidFill>
                <a:latin typeface="Segoe UI Light"/>
              </a:rPr>
              <a:t>PaaS</a:t>
            </a:r>
            <a:r>
              <a:rPr lang="en-US" sz="2800" dirty="0">
                <a:solidFill>
                  <a:srgbClr val="8CC600">
                    <a:alpha val="99000"/>
                  </a:srgbClr>
                </a:solidFill>
                <a:latin typeface="Segoe UI Light"/>
              </a:rPr>
              <a:t> is lower risk</a:t>
            </a:r>
          </a:p>
          <a:p>
            <a:pPr marL="2381" lvl="1" indent="0">
              <a:lnSpc>
                <a:spcPct val="100000"/>
              </a:lnSpc>
              <a:spcBef>
                <a:spcPts val="0"/>
              </a:spcBef>
              <a:buSzPct val="80000"/>
              <a:buNone/>
            </a:pPr>
            <a:r>
              <a:rPr lang="en-US" sz="1600" spc="-38" dirty="0">
                <a:solidFill>
                  <a:srgbClr val="5F5F5F">
                    <a:alpha val="99000"/>
                  </a:srgbClr>
                </a:solidFill>
              </a:rPr>
              <a:t>Reason: </a:t>
            </a:r>
            <a:r>
              <a:rPr lang="en-US" sz="1600" spc="-38" dirty="0">
                <a:solidFill>
                  <a:srgbClr val="5F5F5F">
                    <a:lumMod val="65000"/>
                    <a:alpha val="99000"/>
                  </a:srgbClr>
                </a:solidFill>
              </a:rPr>
              <a:t>The platform does more, leaving fewer opportunities for error</a:t>
            </a:r>
          </a:p>
          <a:p>
            <a:pPr marL="2381" lvl="1" indent="0">
              <a:lnSpc>
                <a:spcPct val="100000"/>
              </a:lnSpc>
              <a:spcBef>
                <a:spcPts val="0"/>
              </a:spcBef>
              <a:buSzPct val="80000"/>
              <a:buNone/>
            </a:pPr>
            <a:r>
              <a:rPr lang="en-US" sz="1600" spc="-38" dirty="0">
                <a:solidFill>
                  <a:srgbClr val="5F5F5F">
                    <a:alpha val="99000"/>
                  </a:srgbClr>
                </a:solidFill>
              </a:rPr>
              <a:t>Benefit: </a:t>
            </a:r>
            <a:r>
              <a:rPr lang="en-US" sz="1600" spc="-38" dirty="0">
                <a:solidFill>
                  <a:srgbClr val="5F5F5F">
                    <a:lumMod val="65000"/>
                    <a:alpha val="99000"/>
                  </a:srgbClr>
                </a:solidFill>
              </a:rPr>
              <a:t>Creating and running applications gets more reliable</a:t>
            </a:r>
          </a:p>
        </p:txBody>
      </p:sp>
    </p:spTree>
    <p:custDataLst>
      <p:tags r:id="rId1"/>
    </p:custDataLst>
    <p:extLst>
      <p:ext uri="{BB962C8B-B14F-4D97-AF65-F5344CB8AC3E}">
        <p14:creationId xmlns:p14="http://schemas.microsoft.com/office/powerpoint/2010/main" val="2753473779"/>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502649" y="2271528"/>
            <a:ext cx="989139" cy="989139"/>
          </a:xfrm>
          <a:prstGeom prst="rect">
            <a:avLst/>
          </a:prstGeom>
          <a:solidFill>
            <a:schemeClr val="tx2">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1491785" y="1238257"/>
            <a:ext cx="7118818" cy="2963628"/>
          </a:xfrm>
          <a:prstGeom prst="rect">
            <a:avLst/>
          </a:prstGeom>
          <a:solidFill>
            <a:schemeClr val="bg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4" tIns="45714" rIns="45714" bIns="4571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3" name="Title 2"/>
          <p:cNvSpPr>
            <a:spLocks noGrp="1"/>
          </p:cNvSpPr>
          <p:nvPr>
            <p:ph type="title"/>
          </p:nvPr>
        </p:nvSpPr>
        <p:spPr/>
        <p:txBody>
          <a:bodyPr/>
          <a:lstStyle/>
          <a:p>
            <a:r>
              <a:rPr lang="en-US" smtClean="0"/>
              <a:t>IaaS and PaaS Side by Side</a:t>
            </a:r>
            <a:endParaRPr lang="en-US" dirty="0"/>
          </a:p>
        </p:txBody>
      </p:sp>
      <p:sp>
        <p:nvSpPr>
          <p:cNvPr id="2" name="Rectangle 1"/>
          <p:cNvSpPr/>
          <p:nvPr/>
        </p:nvSpPr>
        <p:spPr bwMode="auto">
          <a:xfrm>
            <a:off x="502649" y="1238258"/>
            <a:ext cx="989139" cy="989139"/>
          </a:xfrm>
          <a:prstGeom prst="rect">
            <a:avLst/>
          </a:prstGeom>
          <a:solidFill>
            <a:schemeClr val="tx2">
              <a:lumMod val="60000"/>
              <a:lumOff val="4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94" tIns="34294" rIns="34294" bIns="34294" numCol="1" spcCol="0" rtlCol="0" fromWordArt="0" anchor="ctr" anchorCtr="0" forceAA="0" compatLnSpc="1">
            <a:prstTxWarp prst="textNoShape">
              <a:avLst/>
            </a:prstTxWarp>
            <a:noAutofit/>
          </a:bodyPr>
          <a:lstStyle/>
          <a:p>
            <a:pPr algn="ctr" defTabSz="913985" fontAlgn="base">
              <a:spcBef>
                <a:spcPct val="0"/>
              </a:spcBef>
              <a:spcAft>
                <a:spcPct val="0"/>
              </a:spcAft>
            </a:pPr>
            <a:endParaRPr lang="en-US"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Freeform 128"/>
          <p:cNvSpPr>
            <a:spLocks noChangeAspect="1"/>
          </p:cNvSpPr>
          <p:nvPr/>
        </p:nvSpPr>
        <p:spPr bwMode="black">
          <a:xfrm>
            <a:off x="677709" y="1558137"/>
            <a:ext cx="639017" cy="353002"/>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0" name="Freeform 6"/>
          <p:cNvSpPr>
            <a:spLocks noEditPoints="1"/>
          </p:cNvSpPr>
          <p:nvPr/>
        </p:nvSpPr>
        <p:spPr bwMode="black">
          <a:xfrm>
            <a:off x="650658" y="2466320"/>
            <a:ext cx="693122" cy="599557"/>
          </a:xfrm>
          <a:custGeom>
            <a:avLst/>
            <a:gdLst>
              <a:gd name="T0" fmla="*/ 572 w 780"/>
              <a:gd name="T1" fmla="*/ 322 h 676"/>
              <a:gd name="T2" fmla="*/ 615 w 780"/>
              <a:gd name="T3" fmla="*/ 322 h 676"/>
              <a:gd name="T4" fmla="*/ 117 w 780"/>
              <a:gd name="T5" fmla="*/ 322 h 676"/>
              <a:gd name="T6" fmla="*/ 159 w 780"/>
              <a:gd name="T7" fmla="*/ 322 h 676"/>
              <a:gd name="T8" fmla="*/ 276 w 780"/>
              <a:gd name="T9" fmla="*/ 190 h 676"/>
              <a:gd name="T10" fmla="*/ 288 w 780"/>
              <a:gd name="T11" fmla="*/ 209 h 676"/>
              <a:gd name="T12" fmla="*/ 455 w 780"/>
              <a:gd name="T13" fmla="*/ 205 h 676"/>
              <a:gd name="T14" fmla="*/ 485 w 780"/>
              <a:gd name="T15" fmla="*/ 173 h 676"/>
              <a:gd name="T16" fmla="*/ 288 w 780"/>
              <a:gd name="T17" fmla="*/ 460 h 676"/>
              <a:gd name="T18" fmla="*/ 288 w 780"/>
              <a:gd name="T19" fmla="*/ 460 h 676"/>
              <a:gd name="T20" fmla="*/ 265 w 780"/>
              <a:gd name="T21" fmla="*/ 496 h 676"/>
              <a:gd name="T22" fmla="*/ 485 w 780"/>
              <a:gd name="T23" fmla="*/ 496 h 676"/>
              <a:gd name="T24" fmla="*/ 463 w 780"/>
              <a:gd name="T25" fmla="*/ 460 h 676"/>
              <a:gd name="T26" fmla="*/ 545 w 780"/>
              <a:gd name="T27" fmla="*/ 341 h 676"/>
              <a:gd name="T28" fmla="*/ 319 w 780"/>
              <a:gd name="T29" fmla="*/ 250 h 676"/>
              <a:gd name="T30" fmla="*/ 261 w 780"/>
              <a:gd name="T31" fmla="*/ 379 h 676"/>
              <a:gd name="T32" fmla="*/ 437 w 780"/>
              <a:gd name="T33" fmla="*/ 423 h 676"/>
              <a:gd name="T34" fmla="*/ 297 w 780"/>
              <a:gd name="T35" fmla="*/ 78 h 676"/>
              <a:gd name="T36" fmla="*/ 177 w 780"/>
              <a:gd name="T37" fmla="*/ 0 h 676"/>
              <a:gd name="T38" fmla="*/ 279 w 780"/>
              <a:gd name="T39" fmla="*/ 11 h 676"/>
              <a:gd name="T40" fmla="*/ 279 w 780"/>
              <a:gd name="T41" fmla="*/ 85 h 676"/>
              <a:gd name="T42" fmla="*/ 324 w 780"/>
              <a:gd name="T43" fmla="*/ 140 h 676"/>
              <a:gd name="T44" fmla="*/ 157 w 780"/>
              <a:gd name="T45" fmla="*/ 105 h 676"/>
              <a:gd name="T46" fmla="*/ 542 w 780"/>
              <a:gd name="T47" fmla="*/ 8 h 676"/>
              <a:gd name="T48" fmla="*/ 419 w 780"/>
              <a:gd name="T49" fmla="*/ 98 h 676"/>
              <a:gd name="T50" fmla="*/ 551 w 780"/>
              <a:gd name="T51" fmla="*/ 98 h 676"/>
              <a:gd name="T52" fmla="*/ 432 w 780"/>
              <a:gd name="T53" fmla="*/ 98 h 676"/>
              <a:gd name="T54" fmla="*/ 530 w 780"/>
              <a:gd name="T55" fmla="*/ 143 h 676"/>
              <a:gd name="T56" fmla="*/ 463 w 780"/>
              <a:gd name="T57" fmla="*/ 129 h 676"/>
              <a:gd name="T58" fmla="*/ 528 w 780"/>
              <a:gd name="T59" fmla="*/ 147 h 676"/>
              <a:gd name="T60" fmla="*/ 639 w 780"/>
              <a:gd name="T61" fmla="*/ 147 h 676"/>
              <a:gd name="T62" fmla="*/ 639 w 780"/>
              <a:gd name="T63" fmla="*/ 8 h 676"/>
              <a:gd name="T64" fmla="*/ 613 w 780"/>
              <a:gd name="T65" fmla="*/ 137 h 676"/>
              <a:gd name="T66" fmla="*/ 22 w 780"/>
              <a:gd name="T67" fmla="*/ 413 h 676"/>
              <a:gd name="T68" fmla="*/ 85 w 780"/>
              <a:gd name="T69" fmla="*/ 387 h 676"/>
              <a:gd name="T70" fmla="*/ 13 w 780"/>
              <a:gd name="T71" fmla="*/ 288 h 676"/>
              <a:gd name="T72" fmla="*/ 546 w 780"/>
              <a:gd name="T73" fmla="*/ 519 h 676"/>
              <a:gd name="T74" fmla="*/ 478 w 780"/>
              <a:gd name="T75" fmla="*/ 542 h 676"/>
              <a:gd name="T76" fmla="*/ 488 w 780"/>
              <a:gd name="T77" fmla="*/ 541 h 676"/>
              <a:gd name="T78" fmla="*/ 763 w 780"/>
              <a:gd name="T79" fmla="*/ 413 h 676"/>
              <a:gd name="T80" fmla="*/ 763 w 780"/>
              <a:gd name="T81" fmla="*/ 251 h 676"/>
              <a:gd name="T82" fmla="*/ 679 w 780"/>
              <a:gd name="T83" fmla="*/ 261 h 676"/>
              <a:gd name="T84" fmla="*/ 770 w 780"/>
              <a:gd name="T85" fmla="*/ 378 h 676"/>
              <a:gd name="T86" fmla="*/ 695 w 780"/>
              <a:gd name="T87" fmla="*/ 397 h 676"/>
              <a:gd name="T88" fmla="*/ 737 w 780"/>
              <a:gd name="T89" fmla="*/ 397 h 676"/>
              <a:gd name="T90" fmla="*/ 716 w 780"/>
              <a:gd name="T91" fmla="*/ 397 h 676"/>
              <a:gd name="T92" fmla="*/ 250 w 780"/>
              <a:gd name="T93" fmla="*/ 504 h 676"/>
              <a:gd name="T94" fmla="*/ 179 w 780"/>
              <a:gd name="T95" fmla="*/ 524 h 676"/>
              <a:gd name="T96" fmla="*/ 187 w 780"/>
              <a:gd name="T97" fmla="*/ 676 h 676"/>
              <a:gd name="T98" fmla="*/ 253 w 780"/>
              <a:gd name="T99" fmla="*/ 527 h 676"/>
              <a:gd name="T100" fmla="*/ 196 w 780"/>
              <a:gd name="T101" fmla="*/ 642 h 676"/>
              <a:gd name="T102" fmla="*/ 253 w 780"/>
              <a:gd name="T103" fmla="*/ 626 h 676"/>
              <a:gd name="T104" fmla="*/ 249 w 780"/>
              <a:gd name="T105" fmla="*/ 630 h 676"/>
              <a:gd name="T106" fmla="*/ 191 w 780"/>
              <a:gd name="T107" fmla="*/ 604 h 676"/>
              <a:gd name="T108" fmla="*/ 246 w 780"/>
              <a:gd name="T109" fmla="*/ 542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80" h="676">
                <a:moveTo>
                  <a:pt x="572" y="322"/>
                </a:moveTo>
                <a:cubicBezTo>
                  <a:pt x="594" y="322"/>
                  <a:pt x="594" y="322"/>
                  <a:pt x="594" y="322"/>
                </a:cubicBezTo>
                <a:cubicBezTo>
                  <a:pt x="594" y="331"/>
                  <a:pt x="594" y="331"/>
                  <a:pt x="594" y="331"/>
                </a:cubicBezTo>
                <a:cubicBezTo>
                  <a:pt x="572" y="331"/>
                  <a:pt x="572" y="331"/>
                  <a:pt x="572" y="331"/>
                </a:cubicBezTo>
                <a:cubicBezTo>
                  <a:pt x="572" y="322"/>
                  <a:pt x="572" y="322"/>
                  <a:pt x="572" y="322"/>
                </a:cubicBezTo>
                <a:close/>
                <a:moveTo>
                  <a:pt x="615" y="322"/>
                </a:moveTo>
                <a:cubicBezTo>
                  <a:pt x="615" y="331"/>
                  <a:pt x="615" y="331"/>
                  <a:pt x="615" y="331"/>
                </a:cubicBezTo>
                <a:cubicBezTo>
                  <a:pt x="636" y="331"/>
                  <a:pt x="636" y="331"/>
                  <a:pt x="636" y="331"/>
                </a:cubicBezTo>
                <a:cubicBezTo>
                  <a:pt x="636" y="322"/>
                  <a:pt x="636" y="322"/>
                  <a:pt x="636" y="322"/>
                </a:cubicBezTo>
                <a:cubicBezTo>
                  <a:pt x="615" y="322"/>
                  <a:pt x="615" y="322"/>
                  <a:pt x="615" y="322"/>
                </a:cubicBezTo>
                <a:close/>
                <a:moveTo>
                  <a:pt x="117" y="322"/>
                </a:moveTo>
                <a:cubicBezTo>
                  <a:pt x="117" y="331"/>
                  <a:pt x="117" y="331"/>
                  <a:pt x="117" y="331"/>
                </a:cubicBezTo>
                <a:cubicBezTo>
                  <a:pt x="138" y="331"/>
                  <a:pt x="138" y="331"/>
                  <a:pt x="138" y="331"/>
                </a:cubicBezTo>
                <a:cubicBezTo>
                  <a:pt x="138" y="322"/>
                  <a:pt x="138" y="322"/>
                  <a:pt x="138" y="322"/>
                </a:cubicBezTo>
                <a:cubicBezTo>
                  <a:pt x="117" y="322"/>
                  <a:pt x="117" y="322"/>
                  <a:pt x="117" y="322"/>
                </a:cubicBezTo>
                <a:close/>
                <a:moveTo>
                  <a:pt x="159" y="322"/>
                </a:moveTo>
                <a:cubicBezTo>
                  <a:pt x="159" y="331"/>
                  <a:pt x="159" y="331"/>
                  <a:pt x="159" y="331"/>
                </a:cubicBezTo>
                <a:cubicBezTo>
                  <a:pt x="182" y="331"/>
                  <a:pt x="182" y="331"/>
                  <a:pt x="182" y="331"/>
                </a:cubicBezTo>
                <a:cubicBezTo>
                  <a:pt x="182" y="322"/>
                  <a:pt x="182" y="322"/>
                  <a:pt x="182" y="322"/>
                </a:cubicBezTo>
                <a:cubicBezTo>
                  <a:pt x="159" y="322"/>
                  <a:pt x="159" y="322"/>
                  <a:pt x="159" y="322"/>
                </a:cubicBezTo>
                <a:close/>
                <a:moveTo>
                  <a:pt x="276" y="190"/>
                </a:moveTo>
                <a:cubicBezTo>
                  <a:pt x="285" y="186"/>
                  <a:pt x="285" y="186"/>
                  <a:pt x="285" y="186"/>
                </a:cubicBezTo>
                <a:cubicBezTo>
                  <a:pt x="273" y="168"/>
                  <a:pt x="273" y="168"/>
                  <a:pt x="273" y="168"/>
                </a:cubicBezTo>
                <a:cubicBezTo>
                  <a:pt x="265" y="173"/>
                  <a:pt x="265" y="173"/>
                  <a:pt x="265" y="173"/>
                </a:cubicBezTo>
                <a:cubicBezTo>
                  <a:pt x="276" y="190"/>
                  <a:pt x="276" y="190"/>
                  <a:pt x="276" y="190"/>
                </a:cubicBezTo>
                <a:cubicBezTo>
                  <a:pt x="276" y="190"/>
                  <a:pt x="276" y="190"/>
                  <a:pt x="276" y="190"/>
                </a:cubicBezTo>
                <a:close/>
                <a:moveTo>
                  <a:pt x="298" y="227"/>
                </a:moveTo>
                <a:cubicBezTo>
                  <a:pt x="306" y="223"/>
                  <a:pt x="306" y="223"/>
                  <a:pt x="306" y="223"/>
                </a:cubicBezTo>
                <a:cubicBezTo>
                  <a:pt x="295" y="205"/>
                  <a:pt x="295" y="205"/>
                  <a:pt x="295" y="205"/>
                </a:cubicBezTo>
                <a:cubicBezTo>
                  <a:pt x="288" y="209"/>
                  <a:pt x="288" y="209"/>
                  <a:pt x="288" y="209"/>
                </a:cubicBezTo>
                <a:cubicBezTo>
                  <a:pt x="298" y="227"/>
                  <a:pt x="298" y="227"/>
                  <a:pt x="298" y="227"/>
                </a:cubicBezTo>
                <a:cubicBezTo>
                  <a:pt x="298" y="227"/>
                  <a:pt x="298" y="227"/>
                  <a:pt x="298" y="227"/>
                </a:cubicBezTo>
                <a:close/>
                <a:moveTo>
                  <a:pt x="452" y="227"/>
                </a:moveTo>
                <a:cubicBezTo>
                  <a:pt x="463" y="209"/>
                  <a:pt x="463" y="209"/>
                  <a:pt x="463" y="209"/>
                </a:cubicBezTo>
                <a:cubicBezTo>
                  <a:pt x="455" y="205"/>
                  <a:pt x="455" y="205"/>
                  <a:pt x="455" y="205"/>
                </a:cubicBezTo>
                <a:cubicBezTo>
                  <a:pt x="445" y="223"/>
                  <a:pt x="445" y="223"/>
                  <a:pt x="445" y="223"/>
                </a:cubicBezTo>
                <a:cubicBezTo>
                  <a:pt x="452" y="227"/>
                  <a:pt x="452" y="227"/>
                  <a:pt x="452" y="227"/>
                </a:cubicBezTo>
                <a:cubicBezTo>
                  <a:pt x="452" y="227"/>
                  <a:pt x="452" y="227"/>
                  <a:pt x="452" y="227"/>
                </a:cubicBezTo>
                <a:close/>
                <a:moveTo>
                  <a:pt x="475" y="190"/>
                </a:moveTo>
                <a:cubicBezTo>
                  <a:pt x="485" y="173"/>
                  <a:pt x="485" y="173"/>
                  <a:pt x="485" y="173"/>
                </a:cubicBezTo>
                <a:cubicBezTo>
                  <a:pt x="478" y="168"/>
                  <a:pt x="478" y="168"/>
                  <a:pt x="478" y="168"/>
                </a:cubicBezTo>
                <a:cubicBezTo>
                  <a:pt x="467" y="186"/>
                  <a:pt x="467" y="186"/>
                  <a:pt x="467" y="186"/>
                </a:cubicBezTo>
                <a:cubicBezTo>
                  <a:pt x="475" y="190"/>
                  <a:pt x="475" y="190"/>
                  <a:pt x="475" y="190"/>
                </a:cubicBezTo>
                <a:cubicBezTo>
                  <a:pt x="475" y="190"/>
                  <a:pt x="475" y="190"/>
                  <a:pt x="475" y="190"/>
                </a:cubicBezTo>
                <a:close/>
                <a:moveTo>
                  <a:pt x="288" y="460"/>
                </a:moveTo>
                <a:cubicBezTo>
                  <a:pt x="295" y="464"/>
                  <a:pt x="295" y="464"/>
                  <a:pt x="295" y="464"/>
                </a:cubicBezTo>
                <a:cubicBezTo>
                  <a:pt x="306" y="445"/>
                  <a:pt x="306" y="445"/>
                  <a:pt x="306" y="445"/>
                </a:cubicBezTo>
                <a:cubicBezTo>
                  <a:pt x="298" y="441"/>
                  <a:pt x="298" y="441"/>
                  <a:pt x="298" y="441"/>
                </a:cubicBezTo>
                <a:cubicBezTo>
                  <a:pt x="288" y="460"/>
                  <a:pt x="288" y="460"/>
                  <a:pt x="288" y="460"/>
                </a:cubicBezTo>
                <a:cubicBezTo>
                  <a:pt x="288" y="460"/>
                  <a:pt x="288" y="460"/>
                  <a:pt x="288" y="460"/>
                </a:cubicBezTo>
                <a:close/>
                <a:moveTo>
                  <a:pt x="265" y="496"/>
                </a:moveTo>
                <a:cubicBezTo>
                  <a:pt x="273" y="501"/>
                  <a:pt x="273" y="501"/>
                  <a:pt x="273" y="501"/>
                </a:cubicBezTo>
                <a:cubicBezTo>
                  <a:pt x="285" y="482"/>
                  <a:pt x="285" y="482"/>
                  <a:pt x="285" y="482"/>
                </a:cubicBezTo>
                <a:cubicBezTo>
                  <a:pt x="276" y="477"/>
                  <a:pt x="276" y="477"/>
                  <a:pt x="276" y="477"/>
                </a:cubicBezTo>
                <a:cubicBezTo>
                  <a:pt x="265" y="496"/>
                  <a:pt x="265" y="496"/>
                  <a:pt x="265" y="496"/>
                </a:cubicBezTo>
                <a:cubicBezTo>
                  <a:pt x="265" y="496"/>
                  <a:pt x="265" y="496"/>
                  <a:pt x="265" y="496"/>
                </a:cubicBezTo>
                <a:close/>
                <a:moveTo>
                  <a:pt x="475" y="477"/>
                </a:moveTo>
                <a:cubicBezTo>
                  <a:pt x="467" y="482"/>
                  <a:pt x="467" y="482"/>
                  <a:pt x="467" y="482"/>
                </a:cubicBezTo>
                <a:cubicBezTo>
                  <a:pt x="478" y="501"/>
                  <a:pt x="478" y="501"/>
                  <a:pt x="478" y="501"/>
                </a:cubicBezTo>
                <a:cubicBezTo>
                  <a:pt x="485" y="496"/>
                  <a:pt x="485" y="496"/>
                  <a:pt x="485" y="496"/>
                </a:cubicBezTo>
                <a:cubicBezTo>
                  <a:pt x="475" y="477"/>
                  <a:pt x="475" y="477"/>
                  <a:pt x="475" y="477"/>
                </a:cubicBezTo>
                <a:cubicBezTo>
                  <a:pt x="475" y="477"/>
                  <a:pt x="475" y="477"/>
                  <a:pt x="475" y="477"/>
                </a:cubicBezTo>
                <a:close/>
                <a:moveTo>
                  <a:pt x="445" y="445"/>
                </a:moveTo>
                <a:cubicBezTo>
                  <a:pt x="455" y="464"/>
                  <a:pt x="455" y="464"/>
                  <a:pt x="455" y="464"/>
                </a:cubicBezTo>
                <a:cubicBezTo>
                  <a:pt x="463" y="460"/>
                  <a:pt x="463" y="460"/>
                  <a:pt x="463" y="460"/>
                </a:cubicBezTo>
                <a:cubicBezTo>
                  <a:pt x="452" y="441"/>
                  <a:pt x="452" y="441"/>
                  <a:pt x="452" y="441"/>
                </a:cubicBezTo>
                <a:cubicBezTo>
                  <a:pt x="445" y="445"/>
                  <a:pt x="445" y="445"/>
                  <a:pt x="445" y="445"/>
                </a:cubicBezTo>
                <a:cubicBezTo>
                  <a:pt x="445" y="445"/>
                  <a:pt x="445" y="445"/>
                  <a:pt x="445" y="445"/>
                </a:cubicBezTo>
                <a:close/>
                <a:moveTo>
                  <a:pt x="494" y="392"/>
                </a:moveTo>
                <a:cubicBezTo>
                  <a:pt x="522" y="392"/>
                  <a:pt x="545" y="369"/>
                  <a:pt x="545" y="341"/>
                </a:cubicBezTo>
                <a:cubicBezTo>
                  <a:pt x="545" y="312"/>
                  <a:pt x="522" y="289"/>
                  <a:pt x="494" y="289"/>
                </a:cubicBezTo>
                <a:cubicBezTo>
                  <a:pt x="491" y="289"/>
                  <a:pt x="488" y="289"/>
                  <a:pt x="486" y="290"/>
                </a:cubicBezTo>
                <a:cubicBezTo>
                  <a:pt x="475" y="259"/>
                  <a:pt x="446" y="238"/>
                  <a:pt x="411" y="238"/>
                </a:cubicBezTo>
                <a:cubicBezTo>
                  <a:pt x="389" y="238"/>
                  <a:pt x="369" y="247"/>
                  <a:pt x="354" y="262"/>
                </a:cubicBezTo>
                <a:cubicBezTo>
                  <a:pt x="345" y="255"/>
                  <a:pt x="332" y="250"/>
                  <a:pt x="319" y="250"/>
                </a:cubicBezTo>
                <a:cubicBezTo>
                  <a:pt x="286" y="250"/>
                  <a:pt x="260" y="274"/>
                  <a:pt x="256" y="305"/>
                </a:cubicBezTo>
                <a:cubicBezTo>
                  <a:pt x="253" y="304"/>
                  <a:pt x="249" y="304"/>
                  <a:pt x="246" y="304"/>
                </a:cubicBezTo>
                <a:cubicBezTo>
                  <a:pt x="224" y="304"/>
                  <a:pt x="207" y="321"/>
                  <a:pt x="207" y="343"/>
                </a:cubicBezTo>
                <a:cubicBezTo>
                  <a:pt x="207" y="364"/>
                  <a:pt x="224" y="382"/>
                  <a:pt x="246" y="382"/>
                </a:cubicBezTo>
                <a:cubicBezTo>
                  <a:pt x="251" y="382"/>
                  <a:pt x="256" y="381"/>
                  <a:pt x="261" y="379"/>
                </a:cubicBezTo>
                <a:cubicBezTo>
                  <a:pt x="264" y="400"/>
                  <a:pt x="282" y="416"/>
                  <a:pt x="304" y="416"/>
                </a:cubicBezTo>
                <a:cubicBezTo>
                  <a:pt x="314" y="416"/>
                  <a:pt x="323" y="413"/>
                  <a:pt x="330" y="407"/>
                </a:cubicBezTo>
                <a:cubicBezTo>
                  <a:pt x="338" y="424"/>
                  <a:pt x="354" y="435"/>
                  <a:pt x="374" y="435"/>
                </a:cubicBezTo>
                <a:cubicBezTo>
                  <a:pt x="390" y="435"/>
                  <a:pt x="404" y="427"/>
                  <a:pt x="412" y="415"/>
                </a:cubicBezTo>
                <a:cubicBezTo>
                  <a:pt x="419" y="420"/>
                  <a:pt x="428" y="423"/>
                  <a:pt x="437" y="423"/>
                </a:cubicBezTo>
                <a:cubicBezTo>
                  <a:pt x="457" y="423"/>
                  <a:pt x="474" y="408"/>
                  <a:pt x="477" y="388"/>
                </a:cubicBezTo>
                <a:cubicBezTo>
                  <a:pt x="481" y="390"/>
                  <a:pt x="488" y="392"/>
                  <a:pt x="494" y="392"/>
                </a:cubicBezTo>
                <a:moveTo>
                  <a:pt x="279" y="0"/>
                </a:moveTo>
                <a:cubicBezTo>
                  <a:pt x="288" y="0"/>
                  <a:pt x="297" y="8"/>
                  <a:pt x="297" y="19"/>
                </a:cubicBezTo>
                <a:cubicBezTo>
                  <a:pt x="297" y="19"/>
                  <a:pt x="297" y="19"/>
                  <a:pt x="297" y="78"/>
                </a:cubicBezTo>
                <a:cubicBezTo>
                  <a:pt x="297" y="88"/>
                  <a:pt x="288" y="96"/>
                  <a:pt x="279" y="96"/>
                </a:cubicBezTo>
                <a:cubicBezTo>
                  <a:pt x="279" y="96"/>
                  <a:pt x="279" y="96"/>
                  <a:pt x="177" y="96"/>
                </a:cubicBezTo>
                <a:cubicBezTo>
                  <a:pt x="167" y="96"/>
                  <a:pt x="159" y="88"/>
                  <a:pt x="159" y="78"/>
                </a:cubicBezTo>
                <a:cubicBezTo>
                  <a:pt x="159" y="78"/>
                  <a:pt x="159" y="78"/>
                  <a:pt x="159" y="19"/>
                </a:cubicBezTo>
                <a:cubicBezTo>
                  <a:pt x="159" y="8"/>
                  <a:pt x="167" y="0"/>
                  <a:pt x="177" y="0"/>
                </a:cubicBezTo>
                <a:cubicBezTo>
                  <a:pt x="177" y="0"/>
                  <a:pt x="177" y="0"/>
                  <a:pt x="279" y="0"/>
                </a:cubicBezTo>
                <a:moveTo>
                  <a:pt x="286" y="78"/>
                </a:moveTo>
                <a:cubicBezTo>
                  <a:pt x="286" y="78"/>
                  <a:pt x="286" y="78"/>
                  <a:pt x="286" y="78"/>
                </a:cubicBezTo>
                <a:cubicBezTo>
                  <a:pt x="286" y="19"/>
                  <a:pt x="286" y="19"/>
                  <a:pt x="286" y="19"/>
                </a:cubicBezTo>
                <a:cubicBezTo>
                  <a:pt x="286" y="15"/>
                  <a:pt x="283" y="11"/>
                  <a:pt x="279" y="11"/>
                </a:cubicBezTo>
                <a:cubicBezTo>
                  <a:pt x="279" y="11"/>
                  <a:pt x="279" y="11"/>
                  <a:pt x="177" y="11"/>
                </a:cubicBezTo>
                <a:cubicBezTo>
                  <a:pt x="173" y="11"/>
                  <a:pt x="169" y="15"/>
                  <a:pt x="169" y="19"/>
                </a:cubicBezTo>
                <a:cubicBezTo>
                  <a:pt x="169" y="19"/>
                  <a:pt x="169" y="19"/>
                  <a:pt x="169" y="78"/>
                </a:cubicBezTo>
                <a:cubicBezTo>
                  <a:pt x="169" y="82"/>
                  <a:pt x="173" y="85"/>
                  <a:pt x="177" y="85"/>
                </a:cubicBezTo>
                <a:cubicBezTo>
                  <a:pt x="177" y="85"/>
                  <a:pt x="177" y="85"/>
                  <a:pt x="279" y="85"/>
                </a:cubicBezTo>
                <a:cubicBezTo>
                  <a:pt x="283" y="85"/>
                  <a:pt x="286" y="82"/>
                  <a:pt x="286" y="78"/>
                </a:cubicBezTo>
                <a:close/>
                <a:moveTo>
                  <a:pt x="137" y="147"/>
                </a:moveTo>
                <a:cubicBezTo>
                  <a:pt x="319" y="147"/>
                  <a:pt x="319" y="147"/>
                  <a:pt x="319" y="147"/>
                </a:cubicBezTo>
                <a:cubicBezTo>
                  <a:pt x="322" y="147"/>
                  <a:pt x="324" y="145"/>
                  <a:pt x="324" y="142"/>
                </a:cubicBezTo>
                <a:cubicBezTo>
                  <a:pt x="324" y="140"/>
                  <a:pt x="324" y="140"/>
                  <a:pt x="324" y="140"/>
                </a:cubicBezTo>
                <a:cubicBezTo>
                  <a:pt x="324" y="137"/>
                  <a:pt x="322" y="133"/>
                  <a:pt x="321" y="131"/>
                </a:cubicBezTo>
                <a:cubicBezTo>
                  <a:pt x="299" y="105"/>
                  <a:pt x="299" y="105"/>
                  <a:pt x="299" y="105"/>
                </a:cubicBezTo>
                <a:cubicBezTo>
                  <a:pt x="297" y="103"/>
                  <a:pt x="294" y="102"/>
                  <a:pt x="291" y="102"/>
                </a:cubicBezTo>
                <a:cubicBezTo>
                  <a:pt x="165" y="102"/>
                  <a:pt x="165" y="102"/>
                  <a:pt x="165" y="102"/>
                </a:cubicBezTo>
                <a:cubicBezTo>
                  <a:pt x="162" y="102"/>
                  <a:pt x="159" y="103"/>
                  <a:pt x="157" y="105"/>
                </a:cubicBezTo>
                <a:cubicBezTo>
                  <a:pt x="135" y="131"/>
                  <a:pt x="135" y="131"/>
                  <a:pt x="135" y="131"/>
                </a:cubicBezTo>
                <a:cubicBezTo>
                  <a:pt x="134" y="133"/>
                  <a:pt x="132" y="137"/>
                  <a:pt x="132" y="140"/>
                </a:cubicBezTo>
                <a:cubicBezTo>
                  <a:pt x="132" y="142"/>
                  <a:pt x="132" y="142"/>
                  <a:pt x="132" y="142"/>
                </a:cubicBezTo>
                <a:cubicBezTo>
                  <a:pt x="132" y="145"/>
                  <a:pt x="134" y="147"/>
                  <a:pt x="137" y="147"/>
                </a:cubicBezTo>
                <a:moveTo>
                  <a:pt x="542" y="8"/>
                </a:moveTo>
                <a:cubicBezTo>
                  <a:pt x="553" y="8"/>
                  <a:pt x="563" y="17"/>
                  <a:pt x="563" y="29"/>
                </a:cubicBezTo>
                <a:cubicBezTo>
                  <a:pt x="563" y="29"/>
                  <a:pt x="563" y="29"/>
                  <a:pt x="563" y="98"/>
                </a:cubicBezTo>
                <a:cubicBezTo>
                  <a:pt x="563" y="110"/>
                  <a:pt x="553" y="120"/>
                  <a:pt x="542" y="120"/>
                </a:cubicBezTo>
                <a:cubicBezTo>
                  <a:pt x="542" y="120"/>
                  <a:pt x="542" y="120"/>
                  <a:pt x="441" y="120"/>
                </a:cubicBezTo>
                <a:cubicBezTo>
                  <a:pt x="429" y="120"/>
                  <a:pt x="419" y="110"/>
                  <a:pt x="419" y="98"/>
                </a:cubicBezTo>
                <a:cubicBezTo>
                  <a:pt x="419" y="98"/>
                  <a:pt x="419" y="98"/>
                  <a:pt x="419" y="29"/>
                </a:cubicBezTo>
                <a:cubicBezTo>
                  <a:pt x="419" y="17"/>
                  <a:pt x="429" y="8"/>
                  <a:pt x="441" y="8"/>
                </a:cubicBezTo>
                <a:cubicBezTo>
                  <a:pt x="441" y="8"/>
                  <a:pt x="441" y="8"/>
                  <a:pt x="542" y="8"/>
                </a:cubicBezTo>
                <a:moveTo>
                  <a:pt x="551" y="98"/>
                </a:moveTo>
                <a:cubicBezTo>
                  <a:pt x="551" y="98"/>
                  <a:pt x="551" y="98"/>
                  <a:pt x="551" y="98"/>
                </a:cubicBezTo>
                <a:cubicBezTo>
                  <a:pt x="551" y="29"/>
                  <a:pt x="551" y="29"/>
                  <a:pt x="551" y="29"/>
                </a:cubicBezTo>
                <a:cubicBezTo>
                  <a:pt x="551" y="24"/>
                  <a:pt x="546" y="20"/>
                  <a:pt x="542" y="20"/>
                </a:cubicBezTo>
                <a:cubicBezTo>
                  <a:pt x="542" y="20"/>
                  <a:pt x="542" y="20"/>
                  <a:pt x="441" y="20"/>
                </a:cubicBezTo>
                <a:cubicBezTo>
                  <a:pt x="436" y="20"/>
                  <a:pt x="432" y="24"/>
                  <a:pt x="432" y="29"/>
                </a:cubicBezTo>
                <a:cubicBezTo>
                  <a:pt x="432" y="29"/>
                  <a:pt x="432" y="29"/>
                  <a:pt x="432" y="98"/>
                </a:cubicBezTo>
                <a:cubicBezTo>
                  <a:pt x="432" y="103"/>
                  <a:pt x="436" y="107"/>
                  <a:pt x="441" y="107"/>
                </a:cubicBezTo>
                <a:cubicBezTo>
                  <a:pt x="441" y="107"/>
                  <a:pt x="441" y="107"/>
                  <a:pt x="542" y="107"/>
                </a:cubicBezTo>
                <a:cubicBezTo>
                  <a:pt x="546" y="107"/>
                  <a:pt x="551" y="103"/>
                  <a:pt x="551" y="98"/>
                </a:cubicBezTo>
                <a:close/>
                <a:moveTo>
                  <a:pt x="530" y="145"/>
                </a:moveTo>
                <a:cubicBezTo>
                  <a:pt x="530" y="143"/>
                  <a:pt x="530" y="143"/>
                  <a:pt x="530" y="143"/>
                </a:cubicBezTo>
                <a:cubicBezTo>
                  <a:pt x="530" y="143"/>
                  <a:pt x="529" y="141"/>
                  <a:pt x="529" y="140"/>
                </a:cubicBezTo>
                <a:cubicBezTo>
                  <a:pt x="519" y="129"/>
                  <a:pt x="519" y="129"/>
                  <a:pt x="519" y="129"/>
                </a:cubicBezTo>
                <a:cubicBezTo>
                  <a:pt x="518" y="128"/>
                  <a:pt x="517" y="127"/>
                  <a:pt x="516" y="127"/>
                </a:cubicBezTo>
                <a:cubicBezTo>
                  <a:pt x="467" y="127"/>
                  <a:pt x="467" y="127"/>
                  <a:pt x="467" y="127"/>
                </a:cubicBezTo>
                <a:cubicBezTo>
                  <a:pt x="466" y="127"/>
                  <a:pt x="464" y="128"/>
                  <a:pt x="463" y="129"/>
                </a:cubicBezTo>
                <a:cubicBezTo>
                  <a:pt x="454" y="140"/>
                  <a:pt x="454" y="140"/>
                  <a:pt x="454" y="140"/>
                </a:cubicBezTo>
                <a:cubicBezTo>
                  <a:pt x="453" y="141"/>
                  <a:pt x="452" y="143"/>
                  <a:pt x="452" y="143"/>
                </a:cubicBezTo>
                <a:cubicBezTo>
                  <a:pt x="452" y="145"/>
                  <a:pt x="452" y="145"/>
                  <a:pt x="452" y="145"/>
                </a:cubicBezTo>
                <a:cubicBezTo>
                  <a:pt x="452" y="145"/>
                  <a:pt x="453" y="147"/>
                  <a:pt x="454" y="147"/>
                </a:cubicBezTo>
                <a:cubicBezTo>
                  <a:pt x="528" y="147"/>
                  <a:pt x="528" y="147"/>
                  <a:pt x="528" y="147"/>
                </a:cubicBezTo>
                <a:cubicBezTo>
                  <a:pt x="529" y="147"/>
                  <a:pt x="530" y="145"/>
                  <a:pt x="530" y="145"/>
                </a:cubicBezTo>
                <a:moveTo>
                  <a:pt x="639" y="8"/>
                </a:moveTo>
                <a:cubicBezTo>
                  <a:pt x="644" y="8"/>
                  <a:pt x="648" y="12"/>
                  <a:pt x="648" y="17"/>
                </a:cubicBezTo>
                <a:cubicBezTo>
                  <a:pt x="648" y="17"/>
                  <a:pt x="648" y="17"/>
                  <a:pt x="648" y="137"/>
                </a:cubicBezTo>
                <a:cubicBezTo>
                  <a:pt x="648" y="143"/>
                  <a:pt x="644" y="147"/>
                  <a:pt x="639" y="147"/>
                </a:cubicBezTo>
                <a:cubicBezTo>
                  <a:pt x="639" y="147"/>
                  <a:pt x="639" y="147"/>
                  <a:pt x="586" y="147"/>
                </a:cubicBezTo>
                <a:cubicBezTo>
                  <a:pt x="581" y="147"/>
                  <a:pt x="577" y="143"/>
                  <a:pt x="577" y="137"/>
                </a:cubicBezTo>
                <a:cubicBezTo>
                  <a:pt x="577" y="137"/>
                  <a:pt x="577" y="137"/>
                  <a:pt x="577" y="17"/>
                </a:cubicBezTo>
                <a:cubicBezTo>
                  <a:pt x="577" y="12"/>
                  <a:pt x="581" y="8"/>
                  <a:pt x="586" y="8"/>
                </a:cubicBezTo>
                <a:cubicBezTo>
                  <a:pt x="586" y="8"/>
                  <a:pt x="586" y="8"/>
                  <a:pt x="639" y="8"/>
                </a:cubicBezTo>
                <a:moveTo>
                  <a:pt x="613" y="137"/>
                </a:moveTo>
                <a:cubicBezTo>
                  <a:pt x="617" y="137"/>
                  <a:pt x="620" y="133"/>
                  <a:pt x="620" y="129"/>
                </a:cubicBezTo>
                <a:cubicBezTo>
                  <a:pt x="620" y="124"/>
                  <a:pt x="617" y="120"/>
                  <a:pt x="613" y="120"/>
                </a:cubicBezTo>
                <a:cubicBezTo>
                  <a:pt x="608" y="120"/>
                  <a:pt x="604" y="124"/>
                  <a:pt x="604" y="129"/>
                </a:cubicBezTo>
                <a:cubicBezTo>
                  <a:pt x="604" y="133"/>
                  <a:pt x="608" y="137"/>
                  <a:pt x="613" y="137"/>
                </a:cubicBezTo>
                <a:moveTo>
                  <a:pt x="76" y="263"/>
                </a:moveTo>
                <a:cubicBezTo>
                  <a:pt x="88" y="263"/>
                  <a:pt x="98" y="272"/>
                  <a:pt x="98" y="284"/>
                </a:cubicBezTo>
                <a:cubicBezTo>
                  <a:pt x="98" y="284"/>
                  <a:pt x="98" y="284"/>
                  <a:pt x="98" y="391"/>
                </a:cubicBezTo>
                <a:cubicBezTo>
                  <a:pt x="98" y="403"/>
                  <a:pt x="88" y="413"/>
                  <a:pt x="76" y="413"/>
                </a:cubicBezTo>
                <a:cubicBezTo>
                  <a:pt x="76" y="413"/>
                  <a:pt x="76" y="413"/>
                  <a:pt x="22" y="413"/>
                </a:cubicBezTo>
                <a:cubicBezTo>
                  <a:pt x="10" y="413"/>
                  <a:pt x="0" y="403"/>
                  <a:pt x="0" y="391"/>
                </a:cubicBezTo>
                <a:cubicBezTo>
                  <a:pt x="0" y="391"/>
                  <a:pt x="0" y="391"/>
                  <a:pt x="0" y="284"/>
                </a:cubicBezTo>
                <a:cubicBezTo>
                  <a:pt x="0" y="272"/>
                  <a:pt x="10" y="263"/>
                  <a:pt x="22" y="263"/>
                </a:cubicBezTo>
                <a:cubicBezTo>
                  <a:pt x="22" y="263"/>
                  <a:pt x="22" y="263"/>
                  <a:pt x="76" y="263"/>
                </a:cubicBezTo>
                <a:moveTo>
                  <a:pt x="85" y="387"/>
                </a:moveTo>
                <a:cubicBezTo>
                  <a:pt x="85" y="387"/>
                  <a:pt x="85" y="387"/>
                  <a:pt x="85" y="387"/>
                </a:cubicBezTo>
                <a:cubicBezTo>
                  <a:pt x="85" y="288"/>
                  <a:pt x="85" y="288"/>
                  <a:pt x="85" y="288"/>
                </a:cubicBezTo>
                <a:cubicBezTo>
                  <a:pt x="85" y="281"/>
                  <a:pt x="81" y="276"/>
                  <a:pt x="76" y="276"/>
                </a:cubicBezTo>
                <a:cubicBezTo>
                  <a:pt x="76" y="276"/>
                  <a:pt x="76" y="276"/>
                  <a:pt x="22" y="276"/>
                </a:cubicBezTo>
                <a:cubicBezTo>
                  <a:pt x="17" y="276"/>
                  <a:pt x="13" y="281"/>
                  <a:pt x="13" y="288"/>
                </a:cubicBezTo>
                <a:cubicBezTo>
                  <a:pt x="13" y="288"/>
                  <a:pt x="13" y="288"/>
                  <a:pt x="13" y="387"/>
                </a:cubicBezTo>
                <a:cubicBezTo>
                  <a:pt x="13" y="394"/>
                  <a:pt x="17" y="399"/>
                  <a:pt x="22" y="399"/>
                </a:cubicBezTo>
                <a:cubicBezTo>
                  <a:pt x="22" y="399"/>
                  <a:pt x="22" y="399"/>
                  <a:pt x="76" y="399"/>
                </a:cubicBezTo>
                <a:cubicBezTo>
                  <a:pt x="81" y="399"/>
                  <a:pt x="85" y="394"/>
                  <a:pt x="85" y="387"/>
                </a:cubicBezTo>
                <a:close/>
                <a:moveTo>
                  <a:pt x="546" y="519"/>
                </a:moveTo>
                <a:cubicBezTo>
                  <a:pt x="571" y="519"/>
                  <a:pt x="614" y="524"/>
                  <a:pt x="614" y="542"/>
                </a:cubicBezTo>
                <a:cubicBezTo>
                  <a:pt x="614" y="542"/>
                  <a:pt x="614" y="542"/>
                  <a:pt x="614" y="654"/>
                </a:cubicBezTo>
                <a:cubicBezTo>
                  <a:pt x="614" y="672"/>
                  <a:pt x="571" y="676"/>
                  <a:pt x="546" y="676"/>
                </a:cubicBezTo>
                <a:cubicBezTo>
                  <a:pt x="521" y="676"/>
                  <a:pt x="478" y="672"/>
                  <a:pt x="478" y="654"/>
                </a:cubicBezTo>
                <a:cubicBezTo>
                  <a:pt x="478" y="654"/>
                  <a:pt x="478" y="654"/>
                  <a:pt x="478" y="542"/>
                </a:cubicBezTo>
                <a:cubicBezTo>
                  <a:pt x="478" y="524"/>
                  <a:pt x="521" y="519"/>
                  <a:pt x="546" y="519"/>
                </a:cubicBezTo>
                <a:moveTo>
                  <a:pt x="546" y="557"/>
                </a:moveTo>
                <a:cubicBezTo>
                  <a:pt x="577" y="557"/>
                  <a:pt x="604" y="550"/>
                  <a:pt x="604" y="541"/>
                </a:cubicBezTo>
                <a:cubicBezTo>
                  <a:pt x="604" y="533"/>
                  <a:pt x="577" y="526"/>
                  <a:pt x="546" y="526"/>
                </a:cubicBezTo>
                <a:cubicBezTo>
                  <a:pt x="514" y="526"/>
                  <a:pt x="488" y="533"/>
                  <a:pt x="488" y="541"/>
                </a:cubicBezTo>
                <a:cubicBezTo>
                  <a:pt x="488" y="550"/>
                  <a:pt x="514" y="557"/>
                  <a:pt x="546" y="557"/>
                </a:cubicBezTo>
                <a:moveTo>
                  <a:pt x="763" y="251"/>
                </a:moveTo>
                <a:cubicBezTo>
                  <a:pt x="772" y="251"/>
                  <a:pt x="780" y="259"/>
                  <a:pt x="780" y="269"/>
                </a:cubicBezTo>
                <a:cubicBezTo>
                  <a:pt x="780" y="269"/>
                  <a:pt x="780" y="269"/>
                  <a:pt x="780" y="396"/>
                </a:cubicBezTo>
                <a:cubicBezTo>
                  <a:pt x="780" y="405"/>
                  <a:pt x="772" y="413"/>
                  <a:pt x="763" y="413"/>
                </a:cubicBezTo>
                <a:cubicBezTo>
                  <a:pt x="763" y="413"/>
                  <a:pt x="763" y="413"/>
                  <a:pt x="679" y="413"/>
                </a:cubicBezTo>
                <a:cubicBezTo>
                  <a:pt x="669" y="413"/>
                  <a:pt x="662" y="405"/>
                  <a:pt x="662" y="396"/>
                </a:cubicBezTo>
                <a:cubicBezTo>
                  <a:pt x="662" y="396"/>
                  <a:pt x="662" y="396"/>
                  <a:pt x="662" y="269"/>
                </a:cubicBezTo>
                <a:cubicBezTo>
                  <a:pt x="662" y="259"/>
                  <a:pt x="669" y="251"/>
                  <a:pt x="679" y="251"/>
                </a:cubicBezTo>
                <a:cubicBezTo>
                  <a:pt x="679" y="251"/>
                  <a:pt x="679" y="251"/>
                  <a:pt x="763" y="251"/>
                </a:cubicBezTo>
                <a:moveTo>
                  <a:pt x="770" y="378"/>
                </a:moveTo>
                <a:cubicBezTo>
                  <a:pt x="770" y="378"/>
                  <a:pt x="770" y="378"/>
                  <a:pt x="770" y="378"/>
                </a:cubicBezTo>
                <a:cubicBezTo>
                  <a:pt x="770" y="269"/>
                  <a:pt x="770" y="269"/>
                  <a:pt x="770" y="269"/>
                </a:cubicBezTo>
                <a:cubicBezTo>
                  <a:pt x="770" y="265"/>
                  <a:pt x="767" y="261"/>
                  <a:pt x="763" y="261"/>
                </a:cubicBezTo>
                <a:cubicBezTo>
                  <a:pt x="763" y="261"/>
                  <a:pt x="763" y="261"/>
                  <a:pt x="679" y="261"/>
                </a:cubicBezTo>
                <a:cubicBezTo>
                  <a:pt x="675" y="261"/>
                  <a:pt x="672" y="265"/>
                  <a:pt x="672" y="269"/>
                </a:cubicBezTo>
                <a:cubicBezTo>
                  <a:pt x="672" y="269"/>
                  <a:pt x="672" y="269"/>
                  <a:pt x="672" y="378"/>
                </a:cubicBezTo>
                <a:cubicBezTo>
                  <a:pt x="672" y="381"/>
                  <a:pt x="675" y="385"/>
                  <a:pt x="679" y="385"/>
                </a:cubicBezTo>
                <a:cubicBezTo>
                  <a:pt x="679" y="385"/>
                  <a:pt x="679" y="385"/>
                  <a:pt x="763" y="385"/>
                </a:cubicBezTo>
                <a:cubicBezTo>
                  <a:pt x="767" y="385"/>
                  <a:pt x="770" y="381"/>
                  <a:pt x="770" y="378"/>
                </a:cubicBezTo>
                <a:close/>
                <a:moveTo>
                  <a:pt x="695" y="397"/>
                </a:moveTo>
                <a:cubicBezTo>
                  <a:pt x="695" y="399"/>
                  <a:pt x="697" y="401"/>
                  <a:pt x="699" y="401"/>
                </a:cubicBezTo>
                <a:cubicBezTo>
                  <a:pt x="702" y="401"/>
                  <a:pt x="704" y="399"/>
                  <a:pt x="704" y="397"/>
                </a:cubicBezTo>
                <a:cubicBezTo>
                  <a:pt x="704" y="394"/>
                  <a:pt x="702" y="392"/>
                  <a:pt x="699" y="392"/>
                </a:cubicBezTo>
                <a:cubicBezTo>
                  <a:pt x="697" y="392"/>
                  <a:pt x="695" y="394"/>
                  <a:pt x="695" y="397"/>
                </a:cubicBezTo>
                <a:close/>
                <a:moveTo>
                  <a:pt x="737" y="397"/>
                </a:moveTo>
                <a:cubicBezTo>
                  <a:pt x="737" y="399"/>
                  <a:pt x="739" y="401"/>
                  <a:pt x="742" y="401"/>
                </a:cubicBezTo>
                <a:cubicBezTo>
                  <a:pt x="745" y="401"/>
                  <a:pt x="747" y="399"/>
                  <a:pt x="747" y="397"/>
                </a:cubicBezTo>
                <a:cubicBezTo>
                  <a:pt x="747" y="394"/>
                  <a:pt x="745" y="392"/>
                  <a:pt x="742" y="392"/>
                </a:cubicBezTo>
                <a:cubicBezTo>
                  <a:pt x="739" y="392"/>
                  <a:pt x="737" y="394"/>
                  <a:pt x="737" y="397"/>
                </a:cubicBezTo>
                <a:close/>
                <a:moveTo>
                  <a:pt x="716" y="397"/>
                </a:moveTo>
                <a:cubicBezTo>
                  <a:pt x="716" y="399"/>
                  <a:pt x="718" y="401"/>
                  <a:pt x="721" y="401"/>
                </a:cubicBezTo>
                <a:cubicBezTo>
                  <a:pt x="724" y="401"/>
                  <a:pt x="726" y="399"/>
                  <a:pt x="726" y="397"/>
                </a:cubicBezTo>
                <a:cubicBezTo>
                  <a:pt x="726" y="394"/>
                  <a:pt x="724" y="392"/>
                  <a:pt x="721" y="392"/>
                </a:cubicBezTo>
                <a:cubicBezTo>
                  <a:pt x="718" y="392"/>
                  <a:pt x="716" y="394"/>
                  <a:pt x="716" y="397"/>
                </a:cubicBezTo>
                <a:close/>
                <a:moveTo>
                  <a:pt x="179" y="524"/>
                </a:moveTo>
                <a:cubicBezTo>
                  <a:pt x="181" y="522"/>
                  <a:pt x="185" y="521"/>
                  <a:pt x="188" y="521"/>
                </a:cubicBezTo>
                <a:cubicBezTo>
                  <a:pt x="252" y="521"/>
                  <a:pt x="252" y="521"/>
                  <a:pt x="252" y="521"/>
                </a:cubicBezTo>
                <a:cubicBezTo>
                  <a:pt x="255" y="521"/>
                  <a:pt x="257" y="522"/>
                  <a:pt x="259" y="522"/>
                </a:cubicBezTo>
                <a:cubicBezTo>
                  <a:pt x="250" y="504"/>
                  <a:pt x="250" y="504"/>
                  <a:pt x="250" y="504"/>
                </a:cubicBezTo>
                <a:cubicBezTo>
                  <a:pt x="248" y="499"/>
                  <a:pt x="240" y="494"/>
                  <a:pt x="234" y="494"/>
                </a:cubicBezTo>
                <a:cubicBezTo>
                  <a:pt x="205" y="494"/>
                  <a:pt x="205" y="494"/>
                  <a:pt x="205" y="494"/>
                </a:cubicBezTo>
                <a:cubicBezTo>
                  <a:pt x="199" y="494"/>
                  <a:pt x="192" y="499"/>
                  <a:pt x="189" y="504"/>
                </a:cubicBezTo>
                <a:cubicBezTo>
                  <a:pt x="179" y="524"/>
                  <a:pt x="179" y="524"/>
                  <a:pt x="179" y="524"/>
                </a:cubicBezTo>
                <a:cubicBezTo>
                  <a:pt x="179" y="524"/>
                  <a:pt x="179" y="524"/>
                  <a:pt x="179" y="524"/>
                </a:cubicBezTo>
                <a:close/>
                <a:moveTo>
                  <a:pt x="258" y="528"/>
                </a:moveTo>
                <a:cubicBezTo>
                  <a:pt x="262" y="530"/>
                  <a:pt x="264" y="534"/>
                  <a:pt x="264" y="539"/>
                </a:cubicBezTo>
                <a:cubicBezTo>
                  <a:pt x="264" y="539"/>
                  <a:pt x="264" y="539"/>
                  <a:pt x="264" y="665"/>
                </a:cubicBezTo>
                <a:cubicBezTo>
                  <a:pt x="264" y="671"/>
                  <a:pt x="259" y="676"/>
                  <a:pt x="253" y="676"/>
                </a:cubicBezTo>
                <a:cubicBezTo>
                  <a:pt x="253" y="676"/>
                  <a:pt x="253" y="676"/>
                  <a:pt x="187" y="676"/>
                </a:cubicBezTo>
                <a:cubicBezTo>
                  <a:pt x="181" y="676"/>
                  <a:pt x="176" y="671"/>
                  <a:pt x="176" y="665"/>
                </a:cubicBezTo>
                <a:cubicBezTo>
                  <a:pt x="176" y="665"/>
                  <a:pt x="176" y="665"/>
                  <a:pt x="176" y="539"/>
                </a:cubicBezTo>
                <a:cubicBezTo>
                  <a:pt x="176" y="534"/>
                  <a:pt x="178" y="530"/>
                  <a:pt x="182" y="528"/>
                </a:cubicBezTo>
                <a:cubicBezTo>
                  <a:pt x="183" y="527"/>
                  <a:pt x="185" y="527"/>
                  <a:pt x="187" y="527"/>
                </a:cubicBezTo>
                <a:cubicBezTo>
                  <a:pt x="187" y="527"/>
                  <a:pt x="187" y="527"/>
                  <a:pt x="253" y="527"/>
                </a:cubicBezTo>
                <a:cubicBezTo>
                  <a:pt x="255" y="527"/>
                  <a:pt x="256" y="527"/>
                  <a:pt x="258" y="528"/>
                </a:cubicBezTo>
                <a:moveTo>
                  <a:pt x="249" y="651"/>
                </a:moveTo>
                <a:cubicBezTo>
                  <a:pt x="251" y="651"/>
                  <a:pt x="253" y="649"/>
                  <a:pt x="253" y="647"/>
                </a:cubicBezTo>
                <a:cubicBezTo>
                  <a:pt x="253" y="644"/>
                  <a:pt x="251" y="642"/>
                  <a:pt x="249" y="642"/>
                </a:cubicBezTo>
                <a:cubicBezTo>
                  <a:pt x="249" y="642"/>
                  <a:pt x="249" y="642"/>
                  <a:pt x="196" y="642"/>
                </a:cubicBezTo>
                <a:cubicBezTo>
                  <a:pt x="193" y="642"/>
                  <a:pt x="191" y="644"/>
                  <a:pt x="191" y="647"/>
                </a:cubicBezTo>
                <a:cubicBezTo>
                  <a:pt x="191" y="649"/>
                  <a:pt x="193" y="651"/>
                  <a:pt x="196" y="651"/>
                </a:cubicBezTo>
                <a:cubicBezTo>
                  <a:pt x="196" y="651"/>
                  <a:pt x="196" y="651"/>
                  <a:pt x="249" y="651"/>
                </a:cubicBezTo>
                <a:moveTo>
                  <a:pt x="249" y="630"/>
                </a:moveTo>
                <a:cubicBezTo>
                  <a:pt x="251" y="630"/>
                  <a:pt x="253" y="628"/>
                  <a:pt x="253" y="626"/>
                </a:cubicBezTo>
                <a:cubicBezTo>
                  <a:pt x="253" y="623"/>
                  <a:pt x="251" y="621"/>
                  <a:pt x="249" y="621"/>
                </a:cubicBezTo>
                <a:cubicBezTo>
                  <a:pt x="249" y="621"/>
                  <a:pt x="249" y="621"/>
                  <a:pt x="196" y="621"/>
                </a:cubicBezTo>
                <a:cubicBezTo>
                  <a:pt x="193" y="621"/>
                  <a:pt x="191" y="623"/>
                  <a:pt x="191" y="626"/>
                </a:cubicBezTo>
                <a:cubicBezTo>
                  <a:pt x="191" y="628"/>
                  <a:pt x="193" y="630"/>
                  <a:pt x="196" y="630"/>
                </a:cubicBezTo>
                <a:cubicBezTo>
                  <a:pt x="196" y="630"/>
                  <a:pt x="196" y="630"/>
                  <a:pt x="249" y="630"/>
                </a:cubicBezTo>
                <a:moveTo>
                  <a:pt x="249" y="609"/>
                </a:moveTo>
                <a:cubicBezTo>
                  <a:pt x="251" y="609"/>
                  <a:pt x="253" y="607"/>
                  <a:pt x="253" y="604"/>
                </a:cubicBezTo>
                <a:cubicBezTo>
                  <a:pt x="253" y="602"/>
                  <a:pt x="251" y="600"/>
                  <a:pt x="249" y="600"/>
                </a:cubicBezTo>
                <a:cubicBezTo>
                  <a:pt x="249" y="600"/>
                  <a:pt x="249" y="600"/>
                  <a:pt x="196" y="600"/>
                </a:cubicBezTo>
                <a:cubicBezTo>
                  <a:pt x="193" y="600"/>
                  <a:pt x="191" y="602"/>
                  <a:pt x="191" y="604"/>
                </a:cubicBezTo>
                <a:cubicBezTo>
                  <a:pt x="191" y="607"/>
                  <a:pt x="193" y="609"/>
                  <a:pt x="196" y="609"/>
                </a:cubicBezTo>
                <a:cubicBezTo>
                  <a:pt x="196" y="609"/>
                  <a:pt x="196" y="609"/>
                  <a:pt x="249" y="609"/>
                </a:cubicBezTo>
                <a:moveTo>
                  <a:pt x="246" y="554"/>
                </a:moveTo>
                <a:cubicBezTo>
                  <a:pt x="250" y="554"/>
                  <a:pt x="253" y="552"/>
                  <a:pt x="253" y="548"/>
                </a:cubicBezTo>
                <a:cubicBezTo>
                  <a:pt x="253" y="545"/>
                  <a:pt x="250" y="542"/>
                  <a:pt x="246" y="542"/>
                </a:cubicBezTo>
                <a:cubicBezTo>
                  <a:pt x="243" y="542"/>
                  <a:pt x="240" y="545"/>
                  <a:pt x="240" y="548"/>
                </a:cubicBezTo>
                <a:cubicBezTo>
                  <a:pt x="240" y="552"/>
                  <a:pt x="243" y="554"/>
                  <a:pt x="246" y="55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8" tIns="45714" rIns="91428" bIns="45714" numCol="1" anchor="t" anchorCtr="0" compatLnSpc="1">
            <a:prstTxWarp prst="textNoShape">
              <a:avLst/>
            </a:prstTxWarp>
          </a:bodyPr>
          <a:lstStyle/>
          <a:p>
            <a:pPr defTabSz="914096"/>
            <a:endParaRPr lang="en-US">
              <a:solidFill>
                <a:srgbClr val="5F5F5F"/>
              </a:solidFill>
            </a:endParaRPr>
          </a:p>
        </p:txBody>
      </p:sp>
      <p:sp>
        <p:nvSpPr>
          <p:cNvPr id="12" name="Text Placeholder 3"/>
          <p:cNvSpPr txBox="1">
            <a:spLocks/>
          </p:cNvSpPr>
          <p:nvPr/>
        </p:nvSpPr>
        <p:spPr>
          <a:xfrm>
            <a:off x="1665522" y="2491213"/>
            <a:ext cx="7685312" cy="609398"/>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lvl="1"/>
            <a:r>
              <a:rPr lang="en-US" sz="2800" dirty="0">
                <a:solidFill>
                  <a:srgbClr val="0071BC">
                    <a:alpha val="99000"/>
                  </a:srgbClr>
                </a:solidFill>
                <a:latin typeface="Segoe UI Light"/>
              </a:rPr>
              <a:t>Direct Connectivity Using Virtual Networking</a:t>
            </a:r>
          </a:p>
          <a:p>
            <a:pPr marL="2381" lvl="1"/>
            <a:r>
              <a:rPr lang="en-US" sz="1600" dirty="0">
                <a:solidFill>
                  <a:srgbClr val="5F5F5F">
                    <a:alpha val="99000"/>
                  </a:srgbClr>
                </a:solidFill>
              </a:rPr>
              <a:t>For advanced connectivity scenarios such as Active Directory or DCOM</a:t>
            </a:r>
            <a:endParaRPr lang="en-US" sz="2400" dirty="0">
              <a:solidFill>
                <a:srgbClr val="00AEEF">
                  <a:alpha val="99000"/>
                </a:srgbClr>
              </a:solidFill>
              <a:latin typeface="Segoe UI Light"/>
            </a:endParaRPr>
          </a:p>
        </p:txBody>
      </p:sp>
      <p:sp>
        <p:nvSpPr>
          <p:cNvPr id="13" name="Text Placeholder 3"/>
          <p:cNvSpPr txBox="1">
            <a:spLocks/>
          </p:cNvSpPr>
          <p:nvPr/>
        </p:nvSpPr>
        <p:spPr>
          <a:xfrm>
            <a:off x="1665522" y="1372891"/>
            <a:ext cx="7685312" cy="609398"/>
          </a:xfrm>
          <a:prstGeom prst="rect">
            <a:avLst/>
          </a:prstGeom>
        </p:spPr>
        <p:txBody>
          <a:bodyPr vert="horz" lIns="0" tIns="0" rIns="0" bIns="0" rtlCol="0">
            <a:spAutoFit/>
          </a:bodyPr>
          <a:lstStyle>
            <a:lvl1pPr marL="2382" marR="0" indent="0" algn="l" defTabSz="685835" rtl="0" eaLnBrk="1" fontAlgn="auto" latinLnBrk="0" hangingPunct="1">
              <a:lnSpc>
                <a:spcPct val="90000"/>
              </a:lnSpc>
              <a:spcBef>
                <a:spcPts val="0"/>
              </a:spcBef>
              <a:spcAft>
                <a:spcPts val="675"/>
              </a:spcAft>
              <a:buClrTx/>
              <a:buSzPct val="80000"/>
              <a:buFont typeface="Arial" pitchFamily="34" charset="0"/>
              <a:buNone/>
              <a:tabLst/>
              <a:defRPr sz="3000" kern="1200" spc="-75" baseline="0">
                <a:gradFill>
                  <a:gsLst>
                    <a:gs pos="0">
                      <a:srgbClr val="595959"/>
                    </a:gs>
                    <a:gs pos="86000">
                      <a:srgbClr val="595959"/>
                    </a:gs>
                  </a:gsLst>
                  <a:lin ang="5400000" scaled="0"/>
                </a:gradFill>
                <a:latin typeface="Segoe UI Light" pitchFamily="34" charset="0"/>
                <a:ea typeface="+mn-ea"/>
                <a:cs typeface="+mn-cs"/>
              </a:defRPr>
            </a:lvl1pPr>
            <a:lvl2pPr marL="2382" marR="0" indent="0" algn="l" defTabSz="685835" rtl="0" eaLnBrk="1" fontAlgn="auto" latinLnBrk="0" hangingPunct="1">
              <a:lnSpc>
                <a:spcPct val="90000"/>
              </a:lnSpc>
              <a:spcBef>
                <a:spcPts val="0"/>
              </a:spcBef>
              <a:spcAft>
                <a:spcPts val="0"/>
              </a:spcAft>
              <a:buClrTx/>
              <a:buSzPct val="80000"/>
              <a:buFont typeface="Arial" pitchFamily="34" charset="0"/>
              <a:buNone/>
              <a:tabLst/>
              <a:defRPr sz="1500" kern="1200" spc="-38" baseline="0">
                <a:gradFill>
                  <a:gsLst>
                    <a:gs pos="0">
                      <a:srgbClr val="595959"/>
                    </a:gs>
                    <a:gs pos="86000">
                      <a:srgbClr val="595959"/>
                    </a:gs>
                  </a:gsLst>
                  <a:lin ang="5400000" scaled="0"/>
                </a:gradFill>
                <a:latin typeface="+mn-lt"/>
                <a:ea typeface="+mn-ea"/>
                <a:cs typeface="+mn-cs"/>
              </a:defRPr>
            </a:lvl2pPr>
            <a:lvl3pPr marL="944175" marR="0" indent="-302422" algn="l" defTabSz="685835" rtl="0" eaLnBrk="1" fontAlgn="auto" latinLnBrk="0" hangingPunct="1">
              <a:lnSpc>
                <a:spcPct val="90000"/>
              </a:lnSpc>
              <a:spcBef>
                <a:spcPct val="20000"/>
              </a:spcBef>
              <a:spcAft>
                <a:spcPts val="0"/>
              </a:spcAft>
              <a:buClrTx/>
              <a:buSzPct val="80000"/>
              <a:buFontTx/>
              <a:buBlip>
                <a:blip r:embed="rId3"/>
              </a:buBlip>
              <a:tabLst>
                <a:tab pos="598940" algn="l"/>
              </a:tabLst>
              <a:defRPr sz="18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3pPr>
            <a:lvl4pPr marL="1203730" marR="0" indent="-259558" algn="l" defTabSz="685835" rtl="0" eaLnBrk="1" fontAlgn="auto" latinLnBrk="0" hangingPunct="1">
              <a:lnSpc>
                <a:spcPct val="90000"/>
              </a:lnSpc>
              <a:spcBef>
                <a:spcPct val="20000"/>
              </a:spcBef>
              <a:spcAft>
                <a:spcPts val="0"/>
              </a:spcAft>
              <a:buClrTx/>
              <a:buSzPct val="80000"/>
              <a:buFontTx/>
              <a:buBlip>
                <a:blip r:embed="rId3"/>
              </a:buBlip>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4pPr>
            <a:lvl5pPr marL="1456147" marR="0" indent="-252415" algn="l" defTabSz="685835" rtl="0" eaLnBrk="1" fontAlgn="auto" latinLnBrk="0" hangingPunct="1">
              <a:lnSpc>
                <a:spcPct val="90000"/>
              </a:lnSpc>
              <a:spcBef>
                <a:spcPct val="20000"/>
              </a:spcBef>
              <a:spcAft>
                <a:spcPts val="0"/>
              </a:spcAft>
              <a:buClrTx/>
              <a:buSzPct val="80000"/>
              <a:buFontTx/>
              <a:buBlip>
                <a:blip r:embed="rId3"/>
              </a:buBlip>
              <a:tabLst>
                <a:tab pos="941871" algn="l"/>
              </a:tabLst>
              <a:defRPr sz="1500" kern="1200" spc="0" baseline="0">
                <a:gradFill>
                  <a:gsLst>
                    <a:gs pos="0">
                      <a:schemeClr val="tx1">
                        <a:lumMod val="90000"/>
                        <a:lumOff val="10000"/>
                      </a:schemeClr>
                    </a:gs>
                    <a:gs pos="86000">
                      <a:schemeClr val="tx1">
                        <a:lumMod val="90000"/>
                        <a:lumOff val="10000"/>
                      </a:schemeClr>
                    </a:gs>
                  </a:gsLst>
                  <a:lin ang="5400000" scaled="0"/>
                </a:gradFill>
                <a:latin typeface="+mn-lt"/>
                <a:ea typeface="+mn-ea"/>
                <a:cs typeface="+mn-cs"/>
              </a:defRPr>
            </a:lvl5pPr>
            <a:lvl6pPr marL="1886048"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965"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883"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801" indent="-171459" algn="l" defTabSz="685835"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Aft>
                <a:spcPts val="0"/>
              </a:spcAft>
            </a:pPr>
            <a:r>
              <a:rPr lang="en-US" sz="2800" dirty="0">
                <a:solidFill>
                  <a:srgbClr val="0071BC">
                    <a:alpha val="99000"/>
                  </a:srgbClr>
                </a:solidFill>
                <a:latin typeface="Segoe UI Light"/>
              </a:rPr>
              <a:t>Connect Cloud Apps via VIPs</a:t>
            </a:r>
          </a:p>
          <a:p>
            <a:pPr marL="2381" lvl="1"/>
            <a:r>
              <a:rPr lang="en-US" sz="1600" dirty="0">
                <a:solidFill>
                  <a:srgbClr val="5F5F5F">
                    <a:alpha val="99000"/>
                  </a:srgbClr>
                </a:solidFill>
              </a:rPr>
              <a:t>Easily compose services by connecting public endpoints</a:t>
            </a:r>
            <a:endParaRPr lang="en-US" sz="2400" dirty="0">
              <a:latin typeface="Segoe UI Light"/>
            </a:endParaRPr>
          </a:p>
        </p:txBody>
      </p:sp>
    </p:spTree>
    <p:extLst>
      <p:ext uri="{BB962C8B-B14F-4D97-AF65-F5344CB8AC3E}">
        <p14:creationId xmlns:p14="http://schemas.microsoft.com/office/powerpoint/2010/main" val="2413222017"/>
      </p:ext>
    </p:extLst>
  </p:cSld>
  <p:clrMapOvr>
    <a:masterClrMapping/>
  </p:clrMapOvr>
  <p:transition>
    <p:fade/>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4" name="Elbow Connector 23"/>
          <p:cNvCxnSpPr/>
          <p:nvPr/>
        </p:nvCxnSpPr>
        <p:spPr>
          <a:xfrm rot="10800000" flipV="1">
            <a:off x="4687708" y="1111329"/>
            <a:ext cx="3359127" cy="3383280"/>
          </a:xfrm>
          <a:prstGeom prst="bentConnector3">
            <a:avLst>
              <a:gd name="adj1" fmla="val 108823"/>
            </a:avLst>
          </a:prstGeom>
          <a:ln w="31750">
            <a:solidFill>
              <a:schemeClr val="accent1"/>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rot="5400000">
            <a:off x="3908276" y="3053204"/>
            <a:ext cx="2059945" cy="315621"/>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8" name="Rounded Rectangle 117"/>
          <p:cNvSpPr/>
          <p:nvPr/>
        </p:nvSpPr>
        <p:spPr bwMode="auto">
          <a:xfrm rot="1804617">
            <a:off x="4731152" y="2013996"/>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 name="Rounded Rectangle 10"/>
          <p:cNvSpPr/>
          <p:nvPr/>
        </p:nvSpPr>
        <p:spPr bwMode="auto">
          <a:xfrm rot="19727983">
            <a:off x="5088361" y="1966271"/>
            <a:ext cx="573532"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389436" y="171450"/>
            <a:ext cx="8363938" cy="498598"/>
          </a:xfrm>
        </p:spPr>
        <p:txBody>
          <a:bodyPr/>
          <a:lstStyle/>
          <a:p>
            <a:r>
              <a:rPr lang="en-US" sz="3600" dirty="0"/>
              <a:t>Connecting Applications and VMs</a:t>
            </a:r>
          </a:p>
        </p:txBody>
      </p:sp>
      <p:sp>
        <p:nvSpPr>
          <p:cNvPr id="28" name="Content Placeholder 2"/>
          <p:cNvSpPr>
            <a:spLocks noGrp="1"/>
          </p:cNvSpPr>
          <p:nvPr>
            <p:ph type="body" sz="quarter" idx="10"/>
          </p:nvPr>
        </p:nvSpPr>
        <p:spPr>
          <a:xfrm>
            <a:off x="389436" y="1085851"/>
            <a:ext cx="3870591" cy="1668662"/>
          </a:xfrm>
        </p:spPr>
        <p:txBody>
          <a:bodyPr/>
          <a:lstStyle/>
          <a:p>
            <a:pPr marL="0"/>
            <a:r>
              <a:rPr lang="en-US" sz="2400" dirty="0">
                <a:solidFill>
                  <a:schemeClr val="accent2">
                    <a:alpha val="99000"/>
                  </a:schemeClr>
                </a:solidFill>
              </a:rPr>
              <a:t>Strengths</a:t>
            </a:r>
          </a:p>
          <a:p>
            <a:pPr lvl="1"/>
            <a:r>
              <a:rPr lang="en-US" sz="1800" spc="0" dirty="0"/>
              <a:t>Simplicity</a:t>
            </a:r>
          </a:p>
          <a:p>
            <a:pPr lvl="1"/>
            <a:r>
              <a:rPr lang="en-US" sz="1800" spc="0" dirty="0"/>
              <a:t>Tenant Autonomy</a:t>
            </a:r>
          </a:p>
          <a:p>
            <a:pPr lvl="1"/>
            <a:r>
              <a:rPr lang="en-US" sz="1800" spc="0" dirty="0"/>
              <a:t>VIP Swap (cloud services)</a:t>
            </a:r>
          </a:p>
          <a:p>
            <a:pPr lvl="1"/>
            <a:r>
              <a:rPr lang="en-US" sz="1800" spc="0" dirty="0"/>
              <a:t>Easy Local </a:t>
            </a:r>
            <a:r>
              <a:rPr lang="en-US" sz="1800" spc="0" dirty="0" err="1"/>
              <a:t>Dev</a:t>
            </a:r>
            <a:r>
              <a:rPr lang="en-US" sz="1800" spc="0" dirty="0"/>
              <a:t>/Test</a:t>
            </a:r>
          </a:p>
          <a:p>
            <a:pPr lvl="1"/>
            <a:endParaRPr lang="en-US" sz="1800" spc="0" dirty="0"/>
          </a:p>
        </p:txBody>
      </p:sp>
      <p:sp>
        <p:nvSpPr>
          <p:cNvPr id="29" name="TextBox 28"/>
          <p:cNvSpPr txBox="1"/>
          <p:nvPr/>
        </p:nvSpPr>
        <p:spPr>
          <a:xfrm>
            <a:off x="3257624" y="1429305"/>
            <a:ext cx="1002409" cy="1292662"/>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r>
              <a:rPr lang="en-US" dirty="0"/>
              <a:t>SQL Data Access Traffic Through Public </a:t>
            </a:r>
            <a:r>
              <a:rPr lang="en-US" dirty="0" smtClean="0"/>
              <a:t>Endpoint</a:t>
            </a:r>
            <a:endParaRPr lang="en-US" dirty="0"/>
          </a:p>
        </p:txBody>
      </p:sp>
      <p:sp>
        <p:nvSpPr>
          <p:cNvPr id="30" name="Content Placeholder 2"/>
          <p:cNvSpPr txBox="1">
            <a:spLocks/>
          </p:cNvSpPr>
          <p:nvPr/>
        </p:nvSpPr>
        <p:spPr>
          <a:xfrm>
            <a:off x="389438" y="3065200"/>
            <a:ext cx="3870591" cy="1637982"/>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0" indent="0">
              <a:buNone/>
            </a:pPr>
            <a:r>
              <a:rPr lang="en-US" sz="1800" dirty="0">
                <a:gradFill>
                  <a:gsLst>
                    <a:gs pos="0">
                      <a:srgbClr val="595959"/>
                    </a:gs>
                    <a:gs pos="86000">
                      <a:srgbClr val="595959"/>
                    </a:gs>
                  </a:gsLst>
                  <a:lin ang="5400000" scaled="0"/>
                </a:gradFill>
              </a:rPr>
              <a:t>Higher Latency</a:t>
            </a:r>
          </a:p>
          <a:p>
            <a:pPr marL="0" indent="0">
              <a:buNone/>
            </a:pPr>
            <a:r>
              <a:rPr lang="en-US" sz="1800" dirty="0">
                <a:gradFill>
                  <a:gsLst>
                    <a:gs pos="0">
                      <a:srgbClr val="595959"/>
                    </a:gs>
                    <a:gs pos="86000">
                      <a:srgbClr val="595959"/>
                    </a:gs>
                  </a:gsLst>
                  <a:lin ang="5400000" scaled="0"/>
                </a:gradFill>
              </a:rPr>
              <a:t>Less Secure</a:t>
            </a:r>
            <a:br>
              <a:rPr lang="en-US" sz="1800" dirty="0">
                <a:gradFill>
                  <a:gsLst>
                    <a:gs pos="0">
                      <a:srgbClr val="595959"/>
                    </a:gs>
                    <a:gs pos="86000">
                      <a:srgbClr val="595959"/>
                    </a:gs>
                  </a:gsLst>
                  <a:lin ang="5400000" scaled="0"/>
                </a:gradFill>
              </a:rPr>
            </a:br>
            <a:r>
              <a:rPr lang="en-US" sz="1800" dirty="0">
                <a:gradFill>
                  <a:gsLst>
                    <a:gs pos="0">
                      <a:srgbClr val="595959"/>
                    </a:gs>
                    <a:gs pos="86000">
                      <a:srgbClr val="595959"/>
                    </a:gs>
                  </a:gsLst>
                  <a:lin ang="5400000" scaled="0"/>
                </a:gradFill>
              </a:rPr>
              <a:t>Management/Deployment Overhead</a:t>
            </a:r>
          </a:p>
        </p:txBody>
      </p:sp>
      <p:grpSp>
        <p:nvGrpSpPr>
          <p:cNvPr id="42" name="Group 41"/>
          <p:cNvGrpSpPr/>
          <p:nvPr/>
        </p:nvGrpSpPr>
        <p:grpSpPr>
          <a:xfrm>
            <a:off x="5821316" y="3145174"/>
            <a:ext cx="2932059" cy="1697005"/>
            <a:chOff x="214313" y="2174875"/>
            <a:chExt cx="990600" cy="598488"/>
          </a:xfrm>
          <a:solidFill>
            <a:schemeClr val="accent2"/>
          </a:solidFill>
        </p:grpSpPr>
        <p:sp>
          <p:nvSpPr>
            <p:cNvPr id="43"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4"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5" name="Group 44"/>
          <p:cNvGrpSpPr/>
          <p:nvPr/>
        </p:nvGrpSpPr>
        <p:grpSpPr>
          <a:xfrm>
            <a:off x="5821314" y="1051593"/>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9" name="Group 48"/>
          <p:cNvGrpSpPr/>
          <p:nvPr/>
        </p:nvGrpSpPr>
        <p:grpSpPr>
          <a:xfrm>
            <a:off x="6693960" y="1772197"/>
            <a:ext cx="686109" cy="826566"/>
            <a:chOff x="6416842" y="3516010"/>
            <a:chExt cx="1304729" cy="1572236"/>
          </a:xfrm>
        </p:grpSpPr>
        <p:pic>
          <p:nvPicPr>
            <p:cNvPr id="51"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52"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50" name="TextBox 49"/>
          <p:cNvSpPr txBox="1"/>
          <p:nvPr/>
        </p:nvSpPr>
        <p:spPr>
          <a:xfrm>
            <a:off x="6116715" y="2522115"/>
            <a:ext cx="1753144" cy="173124"/>
          </a:xfrm>
          <a:prstGeom prst="rect">
            <a:avLst/>
          </a:prstGeom>
          <a:noFill/>
        </p:spPr>
        <p:txBody>
          <a:bodyPr wrap="square" lIns="0" tIns="0" rIns="0" bIns="0" rtlCol="0">
            <a:spAutoFit/>
          </a:bodyPr>
          <a:lstStyle/>
          <a:p>
            <a:pPr algn="ctr"/>
            <a:r>
              <a:rPr lang="en-US" sz="1100" dirty="0">
                <a:solidFill>
                  <a:schemeClr val="bg1">
                    <a:alpha val="99000"/>
                  </a:schemeClr>
                </a:solidFill>
              </a:rPr>
              <a:t>Cloud Service or Web Site</a:t>
            </a:r>
          </a:p>
        </p:txBody>
      </p:sp>
      <p:sp>
        <p:nvSpPr>
          <p:cNvPr id="54" name="TextBox 53"/>
          <p:cNvSpPr txBox="1"/>
          <p:nvPr/>
        </p:nvSpPr>
        <p:spPr>
          <a:xfrm>
            <a:off x="7701594" y="3358984"/>
            <a:ext cx="92017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a:t>
            </a:r>
          </a:p>
        </p:txBody>
      </p:sp>
      <p:sp>
        <p:nvSpPr>
          <p:cNvPr id="56" name="TextBox 55"/>
          <p:cNvSpPr txBox="1"/>
          <p:nvPr/>
        </p:nvSpPr>
        <p:spPr>
          <a:xfrm>
            <a:off x="7319307" y="4159409"/>
            <a:ext cx="660522" cy="430887"/>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smtClean="0"/>
              <a:t>SQL Server</a:t>
            </a:r>
            <a:endParaRPr lang="en-US" dirty="0"/>
          </a:p>
        </p:txBody>
      </p:sp>
      <p:grpSp>
        <p:nvGrpSpPr>
          <p:cNvPr id="58" name="Group 57"/>
          <p:cNvGrpSpPr/>
          <p:nvPr/>
        </p:nvGrpSpPr>
        <p:grpSpPr>
          <a:xfrm>
            <a:off x="6887897" y="4173603"/>
            <a:ext cx="470076" cy="393941"/>
            <a:chOff x="8480471" y="4278533"/>
            <a:chExt cx="813936" cy="682287"/>
          </a:xfrm>
        </p:grpSpPr>
        <p:sp>
          <p:nvSpPr>
            <p:cNvPr id="62"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63" name="Freeform 62"/>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sp>
        <p:nvSpPr>
          <p:cNvPr id="64" name="TextBox 63"/>
          <p:cNvSpPr txBox="1"/>
          <p:nvPr/>
        </p:nvSpPr>
        <p:spPr>
          <a:xfrm>
            <a:off x="4670197" y="1371653"/>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65" name="Right Arrow 6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66" name="Oval 6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15" name="Right Arrow 114"/>
          <p:cNvSpPr/>
          <p:nvPr/>
        </p:nvSpPr>
        <p:spPr bwMode="auto">
          <a:xfrm>
            <a:off x="5698799" y="4055434"/>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1500" dirty="0">
                <a:gradFill>
                  <a:gsLst>
                    <a:gs pos="0">
                      <a:srgbClr val="FFFFFF"/>
                    </a:gs>
                    <a:gs pos="100000">
                      <a:srgbClr val="FFFFFF"/>
                    </a:gs>
                  </a:gsLst>
                  <a:lin ang="5400000" scaled="0"/>
                </a:gradFill>
              </a:rPr>
              <a:t>2001-1433</a:t>
            </a:r>
          </a:p>
        </p:txBody>
      </p:sp>
      <p:grpSp>
        <p:nvGrpSpPr>
          <p:cNvPr id="67" name="Group 66"/>
          <p:cNvGrpSpPr/>
          <p:nvPr/>
        </p:nvGrpSpPr>
        <p:grpSpPr bwMode="black">
          <a:xfrm>
            <a:off x="4625940" y="1712562"/>
            <a:ext cx="1106814" cy="854183"/>
            <a:chOff x="7010400" y="2133600"/>
            <a:chExt cx="1379538" cy="1065213"/>
          </a:xfrm>
          <a:solidFill>
            <a:schemeClr val="tx2"/>
          </a:solidFill>
        </p:grpSpPr>
        <p:sp>
          <p:nvSpPr>
            <p:cNvPr id="6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1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
        <p:nvSpPr>
          <p:cNvPr id="41" name="TextBox 40"/>
          <p:cNvSpPr txBox="1"/>
          <p:nvPr/>
        </p:nvSpPr>
        <p:spPr>
          <a:xfrm>
            <a:off x="5463369" y="3145174"/>
            <a:ext cx="2997670" cy="646331"/>
          </a:xfrm>
          <a:prstGeom prst="rect">
            <a:avLst/>
          </a:prstGeom>
          <a:noFill/>
        </p:spPr>
        <p:txBody>
          <a:bodyPr wrap="square" lIns="0" tIns="0" rIns="0" bIns="0" rtlCol="0">
            <a:spAutoFit/>
          </a:bodyPr>
          <a:lstStyle>
            <a:defPPr>
              <a:defRPr lang="en-US"/>
            </a:defPPr>
            <a:lvl1pPr algn="ctr">
              <a:defRPr sz="1400">
                <a:gradFill>
                  <a:gsLst>
                    <a:gs pos="0">
                      <a:srgbClr val="595959"/>
                    </a:gs>
                    <a:gs pos="86000">
                      <a:srgbClr val="595959"/>
                    </a:gs>
                  </a:gsLst>
                  <a:lin ang="5400000" scaled="0"/>
                </a:gradFill>
              </a:defRPr>
            </a:lvl1pPr>
          </a:lstStyle>
          <a:p>
            <a:pPr algn="l"/>
            <a:r>
              <a:rPr lang="en-US" dirty="0"/>
              <a:t>Secure Endpoints </a:t>
            </a:r>
            <a:r>
              <a:rPr lang="en-US" dirty="0" smtClean="0"/>
              <a:t/>
            </a:r>
            <a:br>
              <a:rPr lang="en-US" dirty="0" smtClean="0"/>
            </a:br>
            <a:r>
              <a:rPr lang="en-US" dirty="0" smtClean="0"/>
              <a:t>with Windows </a:t>
            </a:r>
            <a:br>
              <a:rPr lang="en-US" dirty="0" smtClean="0"/>
            </a:br>
            <a:r>
              <a:rPr lang="en-US" dirty="0" smtClean="0"/>
              <a:t>Server </a:t>
            </a:r>
            <a:r>
              <a:rPr lang="en-US" dirty="0"/>
              <a:t>Firewall</a:t>
            </a:r>
          </a:p>
        </p:txBody>
      </p:sp>
      <p:sp>
        <p:nvSpPr>
          <p:cNvPr id="119" name="Freeform 92"/>
          <p:cNvSpPr>
            <a:spLocks noEditPoints="1"/>
          </p:cNvSpPr>
          <p:nvPr/>
        </p:nvSpPr>
        <p:spPr bwMode="black">
          <a:xfrm>
            <a:off x="6638566" y="3408404"/>
            <a:ext cx="133322" cy="181603"/>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chemeClr val="tx2"/>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68" name="TextBox 167"/>
          <p:cNvSpPr txBox="1"/>
          <p:nvPr/>
        </p:nvSpPr>
        <p:spPr>
          <a:xfrm>
            <a:off x="4737063" y="4780097"/>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169" name="Oval 168"/>
          <p:cNvSpPr/>
          <p:nvPr/>
        </p:nvSpPr>
        <p:spPr bwMode="auto">
          <a:xfrm>
            <a:off x="5288243" y="4159415"/>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170" name="Rounded Rectangle 169"/>
          <p:cNvSpPr/>
          <p:nvPr/>
        </p:nvSpPr>
        <p:spPr bwMode="auto">
          <a:xfrm rot="3637710">
            <a:off x="4826006" y="4155373"/>
            <a:ext cx="432019" cy="409729"/>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116" name="Group 115"/>
          <p:cNvGrpSpPr/>
          <p:nvPr/>
        </p:nvGrpSpPr>
        <p:grpSpPr bwMode="black">
          <a:xfrm>
            <a:off x="4660961" y="3971211"/>
            <a:ext cx="1106814" cy="854183"/>
            <a:chOff x="7010400" y="2133600"/>
            <a:chExt cx="1379538" cy="1065213"/>
          </a:xfrm>
          <a:solidFill>
            <a:schemeClr val="tx2"/>
          </a:solidFill>
        </p:grpSpPr>
        <p:sp>
          <p:nvSpPr>
            <p:cNvPr id="120"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1"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2"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3"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4"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5"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7"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8"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29"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0"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1"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2"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3"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4"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5"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6"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7"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8"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39"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0"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1"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2"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3"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4"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5"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7"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8"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49"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0"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1"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2"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3"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4"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5"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6"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7"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8"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59"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0"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1"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2"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3"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4"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5"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6"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67"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spTree>
    <p:extLst>
      <p:ext uri="{BB962C8B-B14F-4D97-AF65-F5344CB8AC3E}">
        <p14:creationId xmlns:p14="http://schemas.microsoft.com/office/powerpoint/2010/main" val="596753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animEffect transition="in" filter="wipe(right)">
                                      <p:cBhvr>
                                        <p:cTn id="7" dur="500"/>
                                        <p:tgtEl>
                                          <p:spTgt spid="2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xEl>
                                              <p:pRg st="0" end="0"/>
                                            </p:txEl>
                                          </p:spTgt>
                                        </p:tgtEl>
                                        <p:attrNameLst>
                                          <p:attrName>style.visibility</p:attrName>
                                        </p:attrNameLst>
                                      </p:cBhvr>
                                      <p:to>
                                        <p:strVal val="visible"/>
                                      </p:to>
                                    </p:set>
                                    <p:animEffect transition="in" filter="fade">
                                      <p:cBhvr>
                                        <p:cTn id="10" dur="500"/>
                                        <p:tgtEl>
                                          <p:spTgt spid="2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8">
                                            <p:txEl>
                                              <p:pRg st="1" end="1"/>
                                            </p:txEl>
                                          </p:spTgt>
                                        </p:tgtEl>
                                        <p:attrNameLst>
                                          <p:attrName>style.visibility</p:attrName>
                                        </p:attrNameLst>
                                      </p:cBhvr>
                                      <p:to>
                                        <p:strVal val="visible"/>
                                      </p:to>
                                    </p:set>
                                    <p:animEffect transition="in" filter="fade">
                                      <p:cBhvr>
                                        <p:cTn id="13" dur="500"/>
                                        <p:tgtEl>
                                          <p:spTgt spid="2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8">
                                            <p:txEl>
                                              <p:pRg st="2" end="2"/>
                                            </p:txEl>
                                          </p:spTgt>
                                        </p:tgtEl>
                                        <p:attrNameLst>
                                          <p:attrName>style.visibility</p:attrName>
                                        </p:attrNameLst>
                                      </p:cBhvr>
                                      <p:to>
                                        <p:strVal val="visible"/>
                                      </p:to>
                                    </p:set>
                                    <p:animEffect transition="in" filter="fade">
                                      <p:cBhvr>
                                        <p:cTn id="16" dur="500"/>
                                        <p:tgtEl>
                                          <p:spTgt spid="2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28">
                                            <p:txEl>
                                              <p:pRg st="3" end="3"/>
                                            </p:txEl>
                                          </p:spTgt>
                                        </p:tgtEl>
                                        <p:attrNameLst>
                                          <p:attrName>style.visibility</p:attrName>
                                        </p:attrNameLst>
                                      </p:cBhvr>
                                      <p:to>
                                        <p:strVal val="visible"/>
                                      </p:to>
                                    </p:set>
                                    <p:animEffect transition="in" filter="fade">
                                      <p:cBhvr>
                                        <p:cTn id="19" dur="500"/>
                                        <p:tgtEl>
                                          <p:spTgt spid="2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28">
                                            <p:txEl>
                                              <p:pRg st="4" end="4"/>
                                            </p:txEl>
                                          </p:spTgt>
                                        </p:tgtEl>
                                        <p:attrNameLst>
                                          <p:attrName>style.visibility</p:attrName>
                                        </p:attrNameLst>
                                      </p:cBhvr>
                                      <p:to>
                                        <p:strVal val="visible"/>
                                      </p:to>
                                    </p:set>
                                    <p:animEffect transition="in" filter="fade">
                                      <p:cBhvr>
                                        <p:cTn id="22" dur="500"/>
                                        <p:tgtEl>
                                          <p:spTgt spid="28">
                                            <p:txEl>
                                              <p:pRg st="4" end="4"/>
                                            </p:txEl>
                                          </p:spTgt>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build="p"/>
      <p:bldP spid="29" grpId="0"/>
      <p:bldP spid="30"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9436" y="171450"/>
            <a:ext cx="8363938" cy="498598"/>
          </a:xfrm>
        </p:spPr>
        <p:txBody>
          <a:bodyPr/>
          <a:lstStyle/>
          <a:p>
            <a:r>
              <a:rPr lang="en-US" sz="3600" dirty="0"/>
              <a:t>Connecting Cloud Services with VNET</a:t>
            </a:r>
          </a:p>
        </p:txBody>
      </p:sp>
      <p:sp>
        <p:nvSpPr>
          <p:cNvPr id="34" name="Content Placeholder 2"/>
          <p:cNvSpPr>
            <a:spLocks noGrp="1"/>
          </p:cNvSpPr>
          <p:nvPr>
            <p:ph type="body" sz="quarter" idx="10"/>
          </p:nvPr>
        </p:nvSpPr>
        <p:spPr>
          <a:xfrm>
            <a:off x="389436" y="1085849"/>
            <a:ext cx="8363938" cy="1419363"/>
          </a:xfrm>
        </p:spPr>
        <p:txBody>
          <a:bodyPr/>
          <a:lstStyle/>
          <a:p>
            <a:r>
              <a:rPr lang="en-US" sz="2400" dirty="0">
                <a:solidFill>
                  <a:schemeClr val="accent2">
                    <a:alpha val="99000"/>
                  </a:schemeClr>
                </a:solidFill>
              </a:rPr>
              <a:t>Strengths</a:t>
            </a:r>
          </a:p>
          <a:p>
            <a:pPr lvl="1"/>
            <a:r>
              <a:rPr lang="en-US" sz="1800" spc="0" dirty="0" smtClean="0"/>
              <a:t>Protect VMs from the open Internet</a:t>
            </a:r>
            <a:endParaRPr lang="en-US" sz="1800" spc="0" dirty="0"/>
          </a:p>
          <a:p>
            <a:pPr lvl="1"/>
            <a:r>
              <a:rPr lang="en-US" sz="1800" spc="0" dirty="0" smtClean="0"/>
              <a:t>Lower </a:t>
            </a:r>
            <a:r>
              <a:rPr lang="en-US" sz="1800" spc="0" dirty="0"/>
              <a:t>Latency</a:t>
            </a:r>
          </a:p>
          <a:p>
            <a:pPr lvl="1"/>
            <a:r>
              <a:rPr lang="en-US" sz="1800" spc="0" dirty="0" smtClean="0"/>
              <a:t>VIP </a:t>
            </a:r>
            <a:r>
              <a:rPr lang="en-US" sz="1800" spc="0" dirty="0"/>
              <a:t>Swap (web / worker roles)</a:t>
            </a:r>
          </a:p>
          <a:p>
            <a:pPr lvl="1"/>
            <a:r>
              <a:rPr lang="en-US" sz="1800" spc="0" dirty="0"/>
              <a:t>Advanced Connectivity Requirements</a:t>
            </a:r>
          </a:p>
        </p:txBody>
      </p:sp>
      <p:sp>
        <p:nvSpPr>
          <p:cNvPr id="40" name="Content Placeholder 2"/>
          <p:cNvSpPr txBox="1">
            <a:spLocks/>
          </p:cNvSpPr>
          <p:nvPr/>
        </p:nvSpPr>
        <p:spPr>
          <a:xfrm>
            <a:off x="389437" y="2871068"/>
            <a:ext cx="3816804" cy="2091707"/>
          </a:xfrm>
          <a:prstGeom prst="rect">
            <a:avLst/>
          </a:prstGeom>
        </p:spPr>
        <p:txBody>
          <a:bodyPr vert="horz" wrap="square" lIns="0" tIns="0" rIns="0" bIns="0" rtlCol="0">
            <a:normAutofit/>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pc="-75" dirty="0">
                <a:solidFill>
                  <a:schemeClr val="accent2">
                    <a:alpha val="99000"/>
                  </a:schemeClr>
                </a:solidFill>
                <a:latin typeface="Segoe UI Light" pitchFamily="34" charset="0"/>
              </a:rPr>
              <a:t>Weaknesses</a:t>
            </a:r>
          </a:p>
          <a:p>
            <a:pPr marL="48810" indent="0">
              <a:buNone/>
            </a:pPr>
            <a:r>
              <a:rPr lang="en-US" sz="1800" dirty="0">
                <a:gradFill>
                  <a:gsLst>
                    <a:gs pos="0">
                      <a:srgbClr val="595959"/>
                    </a:gs>
                    <a:gs pos="86000">
                      <a:srgbClr val="595959"/>
                    </a:gs>
                  </a:gsLst>
                  <a:lin ang="5400000" scaled="0"/>
                </a:gradFill>
              </a:rPr>
              <a:t>VNET Complexity</a:t>
            </a:r>
          </a:p>
          <a:p>
            <a:pPr marL="0" indent="0">
              <a:buNone/>
            </a:pPr>
            <a:r>
              <a:rPr lang="en-US" sz="1800" dirty="0" smtClean="0">
                <a:solidFill>
                  <a:schemeClr val="tx2"/>
                </a:solidFill>
              </a:rPr>
              <a:t> Windows Azure Provided </a:t>
            </a:r>
            <a:r>
              <a:rPr lang="en-US" sz="1800" dirty="0">
                <a:solidFill>
                  <a:schemeClr val="tx2"/>
                </a:solidFill>
              </a:rPr>
              <a:t>DNS does </a:t>
            </a:r>
            <a:r>
              <a:rPr lang="en-US" sz="1800" dirty="0" smtClean="0">
                <a:solidFill>
                  <a:schemeClr val="tx2"/>
                </a:solidFill>
              </a:rPr>
              <a:t> not span  cloud </a:t>
            </a:r>
            <a:r>
              <a:rPr lang="en-US" sz="1800" dirty="0">
                <a:solidFill>
                  <a:schemeClr val="tx2"/>
                </a:solidFill>
              </a:rPr>
              <a:t>services</a:t>
            </a:r>
          </a:p>
        </p:txBody>
      </p:sp>
      <p:grpSp>
        <p:nvGrpSpPr>
          <p:cNvPr id="45" name="Group 44"/>
          <p:cNvGrpSpPr/>
          <p:nvPr/>
        </p:nvGrpSpPr>
        <p:grpSpPr>
          <a:xfrm>
            <a:off x="5817370" y="3145174"/>
            <a:ext cx="2932059" cy="1697005"/>
            <a:chOff x="214313" y="2174875"/>
            <a:chExt cx="990600" cy="598488"/>
          </a:xfrm>
          <a:solidFill>
            <a:schemeClr val="accent2"/>
          </a:solidFill>
        </p:grpSpPr>
        <p:sp>
          <p:nvSpPr>
            <p:cNvPr id="46"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47"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grpSp>
        <p:nvGrpSpPr>
          <p:cNvPr id="48" name="Group 47"/>
          <p:cNvGrpSpPr/>
          <p:nvPr/>
        </p:nvGrpSpPr>
        <p:grpSpPr>
          <a:xfrm>
            <a:off x="5821314" y="1051593"/>
            <a:ext cx="2932059" cy="1697005"/>
            <a:chOff x="214313" y="2174875"/>
            <a:chExt cx="990600" cy="598488"/>
          </a:xfrm>
          <a:solidFill>
            <a:schemeClr val="accent2"/>
          </a:solidFill>
        </p:grpSpPr>
        <p:sp>
          <p:nvSpPr>
            <p:cNvPr id="49" name="Freeform 6"/>
            <p:cNvSpPr>
              <a:spLocks/>
            </p:cNvSpPr>
            <p:nvPr/>
          </p:nvSpPr>
          <p:spPr bwMode="auto">
            <a:xfrm>
              <a:off x="496888" y="2174875"/>
              <a:ext cx="708025" cy="379413"/>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50" name="Freeform 7"/>
            <p:cNvSpPr>
              <a:spLocks/>
            </p:cNvSpPr>
            <p:nvPr/>
          </p:nvSpPr>
          <p:spPr bwMode="auto">
            <a:xfrm>
              <a:off x="214313" y="2344738"/>
              <a:ext cx="803275" cy="428625"/>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sp>
        <p:nvSpPr>
          <p:cNvPr id="51" name="TextBox 50"/>
          <p:cNvSpPr txBox="1"/>
          <p:nvPr/>
        </p:nvSpPr>
        <p:spPr>
          <a:xfrm>
            <a:off x="6545261" y="2899613"/>
            <a:ext cx="872739" cy="346249"/>
          </a:xfrm>
          <a:prstGeom prst="rect">
            <a:avLst/>
          </a:prstGeom>
          <a:noFill/>
        </p:spPr>
        <p:txBody>
          <a:bodyPr wrap="square" lIns="0" tIns="0" rIns="0" bIns="0" rtlCol="0">
            <a:spAutoFit/>
          </a:bodyPr>
          <a:lstStyle/>
          <a:p>
            <a:pPr algn="ctr"/>
            <a:r>
              <a:rPr lang="en-US" sz="1100" dirty="0">
                <a:solidFill>
                  <a:schemeClr val="tx2">
                    <a:alpha val="99000"/>
                  </a:schemeClr>
                </a:solidFill>
              </a:rPr>
              <a:t>Direct Access </a:t>
            </a:r>
            <a:br>
              <a:rPr lang="en-US" sz="1100" dirty="0">
                <a:solidFill>
                  <a:schemeClr val="tx2">
                    <a:alpha val="99000"/>
                  </a:schemeClr>
                </a:solidFill>
              </a:rPr>
            </a:br>
            <a:r>
              <a:rPr lang="en-US" sz="1100" dirty="0">
                <a:solidFill>
                  <a:schemeClr val="tx2">
                    <a:alpha val="99000"/>
                  </a:schemeClr>
                </a:solidFill>
              </a:rPr>
              <a:t>via VNET</a:t>
            </a:r>
          </a:p>
        </p:txBody>
      </p:sp>
      <p:sp>
        <p:nvSpPr>
          <p:cNvPr id="52" name="TextBox 51"/>
          <p:cNvSpPr txBox="1"/>
          <p:nvPr/>
        </p:nvSpPr>
        <p:spPr>
          <a:xfrm>
            <a:off x="7068990" y="1737071"/>
            <a:ext cx="1036833" cy="307777"/>
          </a:xfrm>
          <a:prstGeom prst="rect">
            <a:avLst/>
          </a:prstGeom>
          <a:noFill/>
        </p:spPr>
        <p:txBody>
          <a:bodyPr wrap="square" lIns="0" tIns="0" rIns="0" bIns="0" rtlCol="0">
            <a:spAutoFit/>
          </a:bodyPr>
          <a:lstStyle/>
          <a:p>
            <a:pPr algn="ctr"/>
            <a:r>
              <a:rPr lang="en-US" sz="1000" b="1" dirty="0" err="1">
                <a:solidFill>
                  <a:schemeClr val="bg1">
                    <a:alpha val="99000"/>
                  </a:schemeClr>
                </a:solidFill>
              </a:rPr>
              <a:t>AppSubnet</a:t>
            </a:r>
            <a:r>
              <a:rPr lang="en-US" sz="1000" b="1" dirty="0">
                <a:solidFill>
                  <a:schemeClr val="bg1">
                    <a:alpha val="99000"/>
                  </a:schemeClr>
                </a:solidFill>
              </a:rPr>
              <a:t> </a:t>
            </a:r>
          </a:p>
          <a:p>
            <a:pPr algn="ctr"/>
            <a:r>
              <a:rPr lang="en-US" sz="1000" b="1" dirty="0">
                <a:solidFill>
                  <a:schemeClr val="bg1">
                    <a:alpha val="99000"/>
                  </a:schemeClr>
                </a:solidFill>
              </a:rPr>
              <a:t>(10.0.0.0/16)</a:t>
            </a:r>
          </a:p>
        </p:txBody>
      </p:sp>
      <p:sp>
        <p:nvSpPr>
          <p:cNvPr id="53" name="TextBox 52"/>
          <p:cNvSpPr txBox="1"/>
          <p:nvPr/>
        </p:nvSpPr>
        <p:spPr>
          <a:xfrm>
            <a:off x="7037012" y="3728319"/>
            <a:ext cx="956942" cy="307777"/>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sz="1000" dirty="0" err="1">
                <a:solidFill>
                  <a:schemeClr val="bg1">
                    <a:alpha val="99000"/>
                  </a:schemeClr>
                </a:solidFill>
              </a:rPr>
              <a:t>SQLSubnet</a:t>
            </a:r>
            <a:r>
              <a:rPr lang="en-US" sz="1000" dirty="0">
                <a:solidFill>
                  <a:schemeClr val="bg1">
                    <a:alpha val="99000"/>
                  </a:schemeClr>
                </a:solidFill>
              </a:rPr>
              <a:t> </a:t>
            </a:r>
          </a:p>
          <a:p>
            <a:r>
              <a:rPr lang="en-US" sz="1000" dirty="0">
                <a:solidFill>
                  <a:schemeClr val="bg1">
                    <a:alpha val="99000"/>
                  </a:schemeClr>
                </a:solidFill>
              </a:rPr>
              <a:t>(10.1.0.0/16)</a:t>
            </a:r>
          </a:p>
        </p:txBody>
      </p:sp>
      <p:sp>
        <p:nvSpPr>
          <p:cNvPr id="54" name="TextBox 53"/>
          <p:cNvSpPr txBox="1"/>
          <p:nvPr/>
        </p:nvSpPr>
        <p:spPr>
          <a:xfrm>
            <a:off x="4670197" y="2610656"/>
            <a:ext cx="1002409" cy="346249"/>
          </a:xfrm>
          <a:prstGeom prst="rect">
            <a:avLst/>
          </a:prstGeom>
          <a:noFill/>
        </p:spPr>
        <p:txBody>
          <a:bodyPr wrap="square" lIns="0" tIns="0" rIns="0" bIns="0" rtlCol="0">
            <a:spAutoFit/>
          </a:bodyPr>
          <a:lstStyle/>
          <a:p>
            <a:pPr algn="ctr"/>
            <a:r>
              <a:rPr lang="en-US" sz="1100" dirty="0">
                <a:gradFill>
                  <a:gsLst>
                    <a:gs pos="0">
                      <a:srgbClr val="595959"/>
                    </a:gs>
                    <a:gs pos="86000">
                      <a:srgbClr val="595959"/>
                    </a:gs>
                  </a:gsLst>
                  <a:lin ang="5400000" scaled="0"/>
                </a:gradFill>
              </a:rPr>
              <a:t>Load </a:t>
            </a:r>
            <a:br>
              <a:rPr lang="en-US" sz="1100" dirty="0">
                <a:gradFill>
                  <a:gsLst>
                    <a:gs pos="0">
                      <a:srgbClr val="595959"/>
                    </a:gs>
                    <a:gs pos="86000">
                      <a:srgbClr val="595959"/>
                    </a:gs>
                  </a:gsLst>
                  <a:lin ang="5400000" scaled="0"/>
                </a:gradFill>
              </a:rPr>
            </a:br>
            <a:r>
              <a:rPr lang="en-US" sz="1100" dirty="0">
                <a:gradFill>
                  <a:gsLst>
                    <a:gs pos="0">
                      <a:srgbClr val="595959"/>
                    </a:gs>
                    <a:gs pos="86000">
                      <a:srgbClr val="595959"/>
                    </a:gs>
                  </a:gsLst>
                  <a:lin ang="5400000" scaled="0"/>
                </a:gradFill>
              </a:rPr>
              <a:t>Balancer</a:t>
            </a:r>
          </a:p>
        </p:txBody>
      </p:sp>
      <p:sp>
        <p:nvSpPr>
          <p:cNvPr id="55" name="Right Arrow 54"/>
          <p:cNvSpPr/>
          <p:nvPr/>
        </p:nvSpPr>
        <p:spPr bwMode="auto">
          <a:xfrm>
            <a:off x="5474274" y="1770982"/>
            <a:ext cx="1203509" cy="623210"/>
          </a:xfrm>
          <a:prstGeom prst="rightArrow">
            <a:avLst/>
          </a:prstGeom>
          <a:solidFill>
            <a:schemeClr val="accent4"/>
          </a:solidFill>
          <a:ln w="317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r>
              <a:rPr lang="en-US" sz="2100" dirty="0">
                <a:gradFill>
                  <a:gsLst>
                    <a:gs pos="0">
                      <a:srgbClr val="FFFFFF"/>
                    </a:gs>
                    <a:gs pos="100000">
                      <a:srgbClr val="FFFFFF"/>
                    </a:gs>
                  </a:gsLst>
                  <a:lin ang="5400000" scaled="0"/>
                </a:gradFill>
              </a:rPr>
              <a:t>80</a:t>
            </a:r>
          </a:p>
        </p:txBody>
      </p:sp>
      <p:sp>
        <p:nvSpPr>
          <p:cNvPr id="56" name="Oval 55"/>
          <p:cNvSpPr/>
          <p:nvPr/>
        </p:nvSpPr>
        <p:spPr bwMode="auto">
          <a:xfrm>
            <a:off x="5252653" y="1904593"/>
            <a:ext cx="469981" cy="403541"/>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68" tIns="34285" rIns="68568" bIns="34285" numCol="1" rtlCol="0" anchor="ctr" anchorCtr="0" compatLnSpc="1">
            <a:prstTxWarp prst="textNoShape">
              <a:avLst/>
            </a:prstTxWarp>
          </a:bodyPr>
          <a:lstStyle/>
          <a:p>
            <a:pPr algn="ctr" defTabSz="685495" fontAlgn="base">
              <a:spcBef>
                <a:spcPct val="0"/>
              </a:spcBef>
              <a:spcAft>
                <a:spcPct val="0"/>
              </a:spcAft>
            </a:pPr>
            <a:endParaRPr lang="en-US" sz="1700" dirty="0">
              <a:gradFill>
                <a:gsLst>
                  <a:gs pos="0">
                    <a:srgbClr val="FFFFFF"/>
                  </a:gs>
                  <a:gs pos="100000">
                    <a:srgbClr val="FFFFFF"/>
                  </a:gs>
                </a:gsLst>
                <a:lin ang="5400000" scaled="0"/>
              </a:gradFill>
            </a:endParaRPr>
          </a:p>
        </p:txBody>
      </p:sp>
      <p:grpSp>
        <p:nvGrpSpPr>
          <p:cNvPr id="57" name="Group 56"/>
          <p:cNvGrpSpPr/>
          <p:nvPr/>
        </p:nvGrpSpPr>
        <p:grpSpPr bwMode="black">
          <a:xfrm>
            <a:off x="4617987" y="1709824"/>
            <a:ext cx="1106814" cy="854183"/>
            <a:chOff x="7010400" y="2133600"/>
            <a:chExt cx="1379538" cy="1065213"/>
          </a:xfrm>
          <a:solidFill>
            <a:schemeClr val="tx2"/>
          </a:solidFill>
        </p:grpSpPr>
        <p:sp>
          <p:nvSpPr>
            <p:cNvPr id="58"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59"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0"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1"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2"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3"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4"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5"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6"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7"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8"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69"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0"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1"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2"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3"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4"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5"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6"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7"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8"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79"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0"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1"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2"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3"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4"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5"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6"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7"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8"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89"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0"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1"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2"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3"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4"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5"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6"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7"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8"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99"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0"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1"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2"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3"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sp>
          <p:nvSpPr>
            <p:cNvPr id="104"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200"/>
            </a:p>
          </p:txBody>
        </p:sp>
      </p:grpSp>
      <p:grpSp>
        <p:nvGrpSpPr>
          <p:cNvPr id="105" name="Group 104"/>
          <p:cNvGrpSpPr/>
          <p:nvPr/>
        </p:nvGrpSpPr>
        <p:grpSpPr>
          <a:xfrm>
            <a:off x="6457704" y="1772197"/>
            <a:ext cx="1385638" cy="938859"/>
            <a:chOff x="3597441" y="2014965"/>
            <a:chExt cx="2005496" cy="1359207"/>
          </a:xfrm>
        </p:grpSpPr>
        <p:grpSp>
          <p:nvGrpSpPr>
            <p:cNvPr id="106" name="Group 105"/>
            <p:cNvGrpSpPr/>
            <p:nvPr/>
          </p:nvGrpSpPr>
          <p:grpSpPr>
            <a:xfrm>
              <a:off x="3939389" y="2014965"/>
              <a:ext cx="993037" cy="1196638"/>
              <a:chOff x="6416842" y="3516010"/>
              <a:chExt cx="1304729" cy="1572236"/>
            </a:xfrm>
          </p:grpSpPr>
          <p:pic>
            <p:nvPicPr>
              <p:cNvPr id="108"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6416842" y="3516010"/>
                <a:ext cx="1175708" cy="1572236"/>
              </a:xfrm>
              <a:prstGeom prst="rect">
                <a:avLst/>
              </a:prstGeom>
              <a:noFill/>
            </p:spPr>
          </p:pic>
          <p:sp>
            <p:nvSpPr>
              <p:cNvPr id="109" name="Freeform 62"/>
              <p:cNvSpPr>
                <a:spLocks noEditPoints="1"/>
              </p:cNvSpPr>
              <p:nvPr/>
            </p:nvSpPr>
            <p:spPr bwMode="black">
              <a:xfrm>
                <a:off x="7025725" y="4197560"/>
                <a:ext cx="695846" cy="695665"/>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200"/>
              </a:p>
            </p:txBody>
          </p:sp>
        </p:grpSp>
        <p:sp>
          <p:nvSpPr>
            <p:cNvPr id="107" name="TextBox 106"/>
            <p:cNvSpPr txBox="1"/>
            <p:nvPr/>
          </p:nvSpPr>
          <p:spPr>
            <a:xfrm>
              <a:off x="3597441" y="3129106"/>
              <a:ext cx="2005496" cy="245066"/>
            </a:xfrm>
            <a:prstGeom prst="rect">
              <a:avLst/>
            </a:prstGeom>
            <a:noFill/>
          </p:spPr>
          <p:txBody>
            <a:bodyPr wrap="square" lIns="0" tIns="0" rIns="0" bIns="0" rtlCol="0">
              <a:spAutoFit/>
            </a:bodyPr>
            <a:lstStyle/>
            <a:p>
              <a:pPr algn="ctr"/>
              <a:r>
                <a:rPr lang="en-US" sz="1100" dirty="0" smtClean="0">
                  <a:solidFill>
                    <a:schemeClr val="bg1">
                      <a:alpha val="99000"/>
                    </a:schemeClr>
                  </a:solidFill>
                </a:rPr>
                <a:t>Web or Worker</a:t>
              </a:r>
              <a:endParaRPr lang="en-US" sz="1100" dirty="0">
                <a:solidFill>
                  <a:schemeClr val="bg1">
                    <a:alpha val="99000"/>
                  </a:schemeClr>
                </a:solidFill>
              </a:endParaRPr>
            </a:p>
          </p:txBody>
        </p:sp>
      </p:grpSp>
      <p:sp>
        <p:nvSpPr>
          <p:cNvPr id="110" name="TextBox 109"/>
          <p:cNvSpPr txBox="1"/>
          <p:nvPr/>
        </p:nvSpPr>
        <p:spPr>
          <a:xfrm>
            <a:off x="7880191" y="1252060"/>
            <a:ext cx="769600"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1</a:t>
            </a:r>
          </a:p>
        </p:txBody>
      </p:sp>
      <p:sp>
        <p:nvSpPr>
          <p:cNvPr id="111" name="TextBox 110"/>
          <p:cNvSpPr txBox="1"/>
          <p:nvPr/>
        </p:nvSpPr>
        <p:spPr>
          <a:xfrm>
            <a:off x="7701594" y="3358984"/>
            <a:ext cx="892216" cy="369332"/>
          </a:xfrm>
          <a:prstGeom prst="rect">
            <a:avLst/>
          </a:prstGeom>
          <a:noFill/>
        </p:spPr>
        <p:txBody>
          <a:bodyPr wrap="square" lIns="0" tIns="0" rIns="0" bIns="0" rtlCol="0">
            <a:spAutoFit/>
          </a:bodyPr>
          <a:lstStyle/>
          <a:p>
            <a:pPr algn="r"/>
            <a:r>
              <a:rPr lang="en-US" sz="1200" dirty="0">
                <a:solidFill>
                  <a:schemeClr val="bg1">
                    <a:alpha val="99000"/>
                  </a:schemeClr>
                </a:solidFill>
              </a:rPr>
              <a:t>Cloud </a:t>
            </a:r>
          </a:p>
          <a:p>
            <a:pPr algn="r"/>
            <a:r>
              <a:rPr lang="en-US" sz="1200" dirty="0">
                <a:solidFill>
                  <a:schemeClr val="bg1">
                    <a:alpha val="99000"/>
                  </a:schemeClr>
                </a:solidFill>
              </a:rPr>
              <a:t>Service 2</a:t>
            </a:r>
          </a:p>
        </p:txBody>
      </p:sp>
      <p:sp>
        <p:nvSpPr>
          <p:cNvPr id="113" name="TextBox 112"/>
          <p:cNvSpPr txBox="1"/>
          <p:nvPr/>
        </p:nvSpPr>
        <p:spPr>
          <a:xfrm>
            <a:off x="6669892" y="3939283"/>
            <a:ext cx="354529" cy="215444"/>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dirty="0"/>
              <a:t>AD</a:t>
            </a:r>
          </a:p>
        </p:txBody>
      </p:sp>
      <p:grpSp>
        <p:nvGrpSpPr>
          <p:cNvPr id="114" name="Group 113"/>
          <p:cNvGrpSpPr/>
          <p:nvPr/>
        </p:nvGrpSpPr>
        <p:grpSpPr>
          <a:xfrm>
            <a:off x="6628241" y="4020081"/>
            <a:ext cx="589472" cy="788077"/>
            <a:chOff x="2575715" y="5186214"/>
            <a:chExt cx="785758" cy="1050769"/>
          </a:xfrm>
        </p:grpSpPr>
        <p:pic>
          <p:nvPicPr>
            <p:cNvPr id="115" name="Picture 6" descr="\\magnum\Projects\Microsoft\Cloud Power FY12\Design\Icons\PNGs\Server_2.png"/>
            <p:cNvPicPr>
              <a:picLocks noChangeAspect="1" noChangeArrowheads="1"/>
            </p:cNvPicPr>
            <p:nvPr/>
          </p:nvPicPr>
          <p:blipFill rotWithShape="1">
            <a:blip r:embed="rId4" cstate="print">
              <a:biLevel thresh="25000"/>
            </a:blip>
            <a:srcRect l="27509"/>
            <a:stretch/>
          </p:blipFill>
          <p:spPr bwMode="auto">
            <a:xfrm>
              <a:off x="2575715" y="5186214"/>
              <a:ext cx="785758" cy="1050769"/>
            </a:xfrm>
            <a:prstGeom prst="rect">
              <a:avLst/>
            </a:prstGeom>
            <a:noFill/>
          </p:spPr>
        </p:pic>
        <p:grpSp>
          <p:nvGrpSpPr>
            <p:cNvPr id="116" name="Group 115"/>
            <p:cNvGrpSpPr/>
            <p:nvPr/>
          </p:nvGrpSpPr>
          <p:grpSpPr>
            <a:xfrm>
              <a:off x="2716724" y="5793346"/>
              <a:ext cx="619477" cy="443637"/>
              <a:chOff x="1840649" y="4818296"/>
              <a:chExt cx="966161" cy="691914"/>
            </a:xfrm>
          </p:grpSpPr>
          <p:sp>
            <p:nvSpPr>
              <p:cNvPr id="117" name="Freeform 116"/>
              <p:cNvSpPr>
                <a:spLocks noChangeAspect="1"/>
              </p:cNvSpPr>
              <p:nvPr/>
            </p:nvSpPr>
            <p:spPr bwMode="auto">
              <a:xfrm>
                <a:off x="1840649" y="4818297"/>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8" name="Freeform 117"/>
              <p:cNvSpPr>
                <a:spLocks noChangeAspect="1"/>
              </p:cNvSpPr>
              <p:nvPr/>
            </p:nvSpPr>
            <p:spPr bwMode="auto">
              <a:xfrm flipH="1">
                <a:off x="2323760" y="4818296"/>
                <a:ext cx="483050" cy="691913"/>
              </a:xfrm>
              <a:custGeom>
                <a:avLst/>
                <a:gdLst/>
                <a:ahLst/>
                <a:cxnLst>
                  <a:cxn ang="0">
                    <a:pos x="690" y="0"/>
                  </a:cxn>
                  <a:cxn ang="0">
                    <a:pos x="0" y="1003"/>
                  </a:cxn>
                  <a:cxn ang="0">
                    <a:pos x="689" y="1143"/>
                  </a:cxn>
                  <a:cxn ang="0">
                    <a:pos x="690" y="0"/>
                  </a:cxn>
                </a:cxnLst>
                <a:rect l="0" t="0" r="r" b="b"/>
                <a:pathLst>
                  <a:path w="690" h="1143">
                    <a:moveTo>
                      <a:pt x="690" y="0"/>
                    </a:moveTo>
                    <a:lnTo>
                      <a:pt x="0" y="1003"/>
                    </a:lnTo>
                    <a:lnTo>
                      <a:pt x="689" y="1143"/>
                    </a:lnTo>
                    <a:lnTo>
                      <a:pt x="690" y="0"/>
                    </a:lnTo>
                    <a:close/>
                  </a:path>
                </a:pathLst>
              </a:custGeom>
              <a:solidFill>
                <a:schemeClr val="accent4">
                  <a:lumMod val="75000"/>
                </a:schemeClr>
              </a:solidFill>
              <a:ln w="9525" cap="flat" cmpd="sng">
                <a:noFill/>
                <a:prstDash val="solid"/>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19" name="Oval 118"/>
              <p:cNvSpPr>
                <a:spLocks noChangeAspect="1" noChangeArrowheads="1"/>
              </p:cNvSpPr>
              <p:nvPr/>
            </p:nvSpPr>
            <p:spPr bwMode="auto">
              <a:xfrm>
                <a:off x="2201709" y="4985896"/>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0" name="Oval 119"/>
              <p:cNvSpPr>
                <a:spLocks noChangeAspect="1" noChangeArrowheads="1"/>
              </p:cNvSpPr>
              <p:nvPr/>
            </p:nvSpPr>
            <p:spPr bwMode="auto">
              <a:xfrm flipH="1">
                <a:off x="2351276" y="4985914"/>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1" name="Oval 120"/>
              <p:cNvSpPr>
                <a:spLocks noChangeAspect="1" noChangeArrowheads="1"/>
              </p:cNvSpPr>
              <p:nvPr/>
            </p:nvSpPr>
            <p:spPr bwMode="auto">
              <a:xfrm>
                <a:off x="2201709" y="531709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2" name="Oval 121"/>
              <p:cNvSpPr>
                <a:spLocks noChangeAspect="1" noChangeArrowheads="1"/>
              </p:cNvSpPr>
              <p:nvPr/>
            </p:nvSpPr>
            <p:spPr bwMode="auto">
              <a:xfrm flipH="1">
                <a:off x="2351276" y="5317110"/>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3" name="Oval 122"/>
              <p:cNvSpPr>
                <a:spLocks noChangeAspect="1" noChangeArrowheads="1"/>
              </p:cNvSpPr>
              <p:nvPr/>
            </p:nvSpPr>
            <p:spPr bwMode="auto">
              <a:xfrm flipH="1">
                <a:off x="2477440"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4" name="Oval 123"/>
              <p:cNvSpPr>
                <a:spLocks noChangeAspect="1" noChangeArrowheads="1"/>
              </p:cNvSpPr>
              <p:nvPr/>
            </p:nvSpPr>
            <p:spPr bwMode="auto">
              <a:xfrm>
                <a:off x="2077441" y="5293282"/>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5" name="Oval 124"/>
              <p:cNvSpPr>
                <a:spLocks noChangeAspect="1" noChangeArrowheads="1"/>
              </p:cNvSpPr>
              <p:nvPr/>
            </p:nvSpPr>
            <p:spPr bwMode="auto">
              <a:xfrm flipH="1">
                <a:off x="2603604"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6" name="Oval 125"/>
              <p:cNvSpPr>
                <a:spLocks noChangeAspect="1" noChangeArrowheads="1"/>
              </p:cNvSpPr>
              <p:nvPr/>
            </p:nvSpPr>
            <p:spPr bwMode="auto">
              <a:xfrm flipH="1">
                <a:off x="1953173" y="5277799"/>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sp>
            <p:nvSpPr>
              <p:cNvPr id="127" name="Arc 126"/>
              <p:cNvSpPr/>
              <p:nvPr/>
            </p:nvSpPr>
            <p:spPr>
              <a:xfrm rot="5012506">
                <a:off x="2200463"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8" name="Arc 127"/>
              <p:cNvSpPr/>
              <p:nvPr/>
            </p:nvSpPr>
            <p:spPr>
              <a:xfrm rot="16587494" flipH="1">
                <a:off x="2252986" y="5152334"/>
                <a:ext cx="197274" cy="174698"/>
              </a:xfrm>
              <a:prstGeom prst="arc">
                <a:avLst>
                  <a:gd name="adj1" fmla="val 16200000"/>
                  <a:gd name="adj2" fmla="val 814800"/>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sp>
            <p:nvSpPr>
              <p:cNvPr id="129" name="Arc 128"/>
              <p:cNvSpPr/>
              <p:nvPr/>
            </p:nvSpPr>
            <p:spPr>
              <a:xfrm rot="7395384">
                <a:off x="2218960" y="4926421"/>
                <a:ext cx="150756" cy="174698"/>
              </a:xfrm>
              <a:prstGeom prst="arc">
                <a:avLst>
                  <a:gd name="adj1" fmla="val 16200000"/>
                  <a:gd name="adj2" fmla="val 21459126"/>
                </a:avLst>
              </a:prstGeom>
              <a:ln>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dirty="0">
                  <a:ln>
                    <a:solidFill>
                      <a:schemeClr val="bg1">
                        <a:alpha val="0"/>
                      </a:schemeClr>
                    </a:solidFill>
                  </a:ln>
                </a:endParaRPr>
              </a:p>
            </p:txBody>
          </p:sp>
          <p:cxnSp>
            <p:nvCxnSpPr>
              <p:cNvPr id="130" name="Straight Connector 129"/>
              <p:cNvCxnSpPr>
                <a:stCxn id="119" idx="4"/>
                <a:endCxn id="121" idx="0"/>
              </p:cNvCxnSpPr>
              <p:nvPr/>
            </p:nvCxnSpPr>
            <p:spPr>
              <a:xfrm>
                <a:off x="2247429" y="5077336"/>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1" name="Oval 130"/>
              <p:cNvSpPr>
                <a:spLocks noChangeAspect="1" noChangeArrowheads="1"/>
              </p:cNvSpPr>
              <p:nvPr/>
            </p:nvSpPr>
            <p:spPr bwMode="auto">
              <a:xfrm>
                <a:off x="2201709" y="513992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2" name="Straight Connector 131"/>
              <p:cNvCxnSpPr>
                <a:stCxn id="120" idx="4"/>
                <a:endCxn id="122" idx="0"/>
              </p:cNvCxnSpPr>
              <p:nvPr/>
            </p:nvCxnSpPr>
            <p:spPr>
              <a:xfrm>
                <a:off x="2396996" y="5077354"/>
                <a:ext cx="0" cy="239756"/>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3" name="Oval 132"/>
              <p:cNvSpPr>
                <a:spLocks noChangeAspect="1" noChangeArrowheads="1"/>
              </p:cNvSpPr>
              <p:nvPr/>
            </p:nvSpPr>
            <p:spPr bwMode="auto">
              <a:xfrm flipH="1">
                <a:off x="2351275" y="5139945"/>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4" name="Straight Connector 133"/>
              <p:cNvCxnSpPr>
                <a:stCxn id="120" idx="3"/>
                <a:endCxn id="125" idx="7"/>
              </p:cNvCxnSpPr>
              <p:nvPr/>
            </p:nvCxnSpPr>
            <p:spPr>
              <a:xfrm>
                <a:off x="2429325" y="5063963"/>
                <a:ext cx="187670" cy="22722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5" name="Oval 134"/>
              <p:cNvSpPr>
                <a:spLocks noChangeAspect="1" noChangeArrowheads="1"/>
              </p:cNvSpPr>
              <p:nvPr/>
            </p:nvSpPr>
            <p:spPr bwMode="auto">
              <a:xfrm flipH="1">
                <a:off x="2477440" y="5131857"/>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6" name="Straight Connector 135"/>
              <p:cNvCxnSpPr>
                <a:stCxn id="119" idx="3"/>
                <a:endCxn id="126" idx="1"/>
              </p:cNvCxnSpPr>
              <p:nvPr/>
            </p:nvCxnSpPr>
            <p:spPr>
              <a:xfrm flipH="1">
                <a:off x="2031222" y="5063945"/>
                <a:ext cx="183878" cy="22724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7" name="Oval 136"/>
              <p:cNvSpPr>
                <a:spLocks noChangeAspect="1" noChangeArrowheads="1"/>
              </p:cNvSpPr>
              <p:nvPr/>
            </p:nvSpPr>
            <p:spPr bwMode="auto">
              <a:xfrm>
                <a:off x="2082174" y="5131848"/>
                <a:ext cx="91440" cy="91440"/>
              </a:xfrm>
              <a:prstGeom prst="ellipse">
                <a:avLst/>
              </a:prstGeom>
              <a:solidFill>
                <a:schemeClr val="bg1"/>
              </a:solidFill>
              <a:ln w="9525">
                <a:noFill/>
                <a:round/>
                <a:headEnd/>
                <a:tailEnd/>
              </a:ln>
              <a:effectLst/>
            </p:spPr>
            <p:txBody>
              <a:bodyPr wrap="none" anchor="ct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kern="0" dirty="0">
                  <a:ln>
                    <a:solidFill>
                      <a:schemeClr val="bg1">
                        <a:alpha val="0"/>
                      </a:schemeClr>
                    </a:solidFill>
                  </a:ln>
                </a:endParaRPr>
              </a:p>
            </p:txBody>
          </p:sp>
          <p:cxnSp>
            <p:nvCxnSpPr>
              <p:cNvPr id="138" name="Straight Connector 137"/>
              <p:cNvCxnSpPr>
                <a:stCxn id="131" idx="3"/>
                <a:endCxn id="124" idx="7"/>
              </p:cNvCxnSpPr>
              <p:nvPr/>
            </p:nvCxnSpPr>
            <p:spPr>
              <a:xfrm flipH="1">
                <a:off x="2155490" y="5217976"/>
                <a:ext cx="59610" cy="88697"/>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a:stCxn id="133" idx="3"/>
                <a:endCxn id="123" idx="7"/>
              </p:cNvCxnSpPr>
              <p:nvPr/>
            </p:nvCxnSpPr>
            <p:spPr>
              <a:xfrm>
                <a:off x="2429325" y="5217994"/>
                <a:ext cx="61506" cy="8867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cxnSp>
        <p:nvCxnSpPr>
          <p:cNvPr id="140" name="Straight Arrow Connector 139"/>
          <p:cNvCxnSpPr/>
          <p:nvPr/>
        </p:nvCxnSpPr>
        <p:spPr>
          <a:xfrm>
            <a:off x="7397619" y="2738106"/>
            <a:ext cx="0" cy="639004"/>
          </a:xfrm>
          <a:prstGeom prst="straightConnector1">
            <a:avLst/>
          </a:prstGeom>
          <a:ln w="31750">
            <a:solidFill>
              <a:schemeClr val="accent1"/>
            </a:solidFill>
            <a:headEnd type="arrow"/>
            <a:tailEnd type="arrow"/>
          </a:ln>
          <a:effectLst/>
        </p:spPr>
        <p:style>
          <a:lnRef idx="1">
            <a:schemeClr val="accent1"/>
          </a:lnRef>
          <a:fillRef idx="0">
            <a:schemeClr val="accent1"/>
          </a:fillRef>
          <a:effectRef idx="0">
            <a:schemeClr val="accent1"/>
          </a:effectRef>
          <a:fontRef idx="minor">
            <a:schemeClr val="tx1"/>
          </a:fontRef>
        </p:style>
      </p:cxnSp>
      <p:grpSp>
        <p:nvGrpSpPr>
          <p:cNvPr id="141" name="Group 140"/>
          <p:cNvGrpSpPr/>
          <p:nvPr/>
        </p:nvGrpSpPr>
        <p:grpSpPr>
          <a:xfrm>
            <a:off x="7082108" y="4128170"/>
            <a:ext cx="964117" cy="742825"/>
            <a:chOff x="9662639" y="5587874"/>
            <a:chExt cx="1285155" cy="990433"/>
          </a:xfrm>
        </p:grpSpPr>
        <p:sp>
          <p:nvSpPr>
            <p:cNvPr id="142" name="TextBox 141"/>
            <p:cNvSpPr txBox="1"/>
            <p:nvPr/>
          </p:nvSpPr>
          <p:spPr>
            <a:xfrm>
              <a:off x="9864982" y="6116642"/>
              <a:ext cx="880466" cy="461665"/>
            </a:xfrm>
            <a:prstGeom prst="rect">
              <a:avLst/>
            </a:prstGeom>
            <a:noFill/>
          </p:spPr>
          <p:txBody>
            <a:bodyPr wrap="square" lIns="0" tIns="0" rIns="0" bIns="0" rtlCol="0">
              <a:spAutoFit/>
            </a:bodyPr>
            <a:lstStyle>
              <a:defPPr>
                <a:defRPr lang="en-US"/>
              </a:defPPr>
              <a:lvl1pPr algn="ctr">
                <a:defRPr sz="1400">
                  <a:solidFill>
                    <a:schemeClr val="bg1">
                      <a:alpha val="99000"/>
                    </a:schemeClr>
                  </a:solidFill>
                </a:defRPr>
              </a:lvl1pPr>
            </a:lstStyle>
            <a:p>
              <a:r>
                <a:rPr lang="en-US" sz="1100" dirty="0"/>
                <a:t>SQL Mirror</a:t>
              </a:r>
            </a:p>
          </p:txBody>
        </p:sp>
        <p:grpSp>
          <p:nvGrpSpPr>
            <p:cNvPr id="143" name="Group 142"/>
            <p:cNvGrpSpPr/>
            <p:nvPr/>
          </p:nvGrpSpPr>
          <p:grpSpPr>
            <a:xfrm>
              <a:off x="9662639" y="5587874"/>
              <a:ext cx="1285155" cy="525255"/>
              <a:chOff x="9726104" y="5587874"/>
              <a:chExt cx="1285155" cy="525255"/>
            </a:xfrm>
          </p:grpSpPr>
          <p:grpSp>
            <p:nvGrpSpPr>
              <p:cNvPr id="144" name="Group 143"/>
              <p:cNvGrpSpPr/>
              <p:nvPr/>
            </p:nvGrpSpPr>
            <p:grpSpPr>
              <a:xfrm>
                <a:off x="9726104" y="5587874"/>
                <a:ext cx="626605" cy="525255"/>
                <a:chOff x="8480471" y="4278533"/>
                <a:chExt cx="813936" cy="682287"/>
              </a:xfrm>
            </p:grpSpPr>
            <p:sp>
              <p:nvSpPr>
                <p:cNvPr id="148"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9" name="Freeform 148"/>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nvGrpSpPr>
              <p:cNvPr id="145" name="Group 144"/>
              <p:cNvGrpSpPr/>
              <p:nvPr/>
            </p:nvGrpSpPr>
            <p:grpSpPr>
              <a:xfrm>
                <a:off x="10384654" y="5587874"/>
                <a:ext cx="626605" cy="525255"/>
                <a:chOff x="8480471" y="4278533"/>
                <a:chExt cx="813936" cy="682287"/>
              </a:xfrm>
            </p:grpSpPr>
            <p:sp>
              <p:nvSpPr>
                <p:cNvPr id="146" name="Freeform 34"/>
                <p:cNvSpPr>
                  <a:spLocks noEditPoints="1"/>
                </p:cNvSpPr>
                <p:nvPr/>
              </p:nvSpPr>
              <p:spPr bwMode="auto">
                <a:xfrm>
                  <a:off x="8810226" y="4485693"/>
                  <a:ext cx="484181" cy="475127"/>
                </a:xfrm>
                <a:custGeom>
                  <a:avLst/>
                  <a:gdLst>
                    <a:gd name="T0" fmla="*/ 1691 w 1811"/>
                    <a:gd name="T1" fmla="*/ 192 h 1777"/>
                    <a:gd name="T2" fmla="*/ 907 w 1811"/>
                    <a:gd name="T3" fmla="*/ 0 h 1777"/>
                    <a:gd name="T4" fmla="*/ 330 w 1811"/>
                    <a:gd name="T5" fmla="*/ 83 h 1777"/>
                    <a:gd name="T6" fmla="*/ 120 w 1811"/>
                    <a:gd name="T7" fmla="*/ 192 h 1777"/>
                    <a:gd name="T8" fmla="*/ 0 w 1811"/>
                    <a:gd name="T9" fmla="*/ 419 h 1777"/>
                    <a:gd name="T10" fmla="*/ 0 w 1811"/>
                    <a:gd name="T11" fmla="*/ 1306 h 1777"/>
                    <a:gd name="T12" fmla="*/ 108 w 1811"/>
                    <a:gd name="T13" fmla="*/ 1543 h 1777"/>
                    <a:gd name="T14" fmla="*/ 907 w 1811"/>
                    <a:gd name="T15" fmla="*/ 1777 h 1777"/>
                    <a:gd name="T16" fmla="*/ 1150 w 1811"/>
                    <a:gd name="T17" fmla="*/ 1762 h 1777"/>
                    <a:gd name="T18" fmla="*/ 1700 w 1811"/>
                    <a:gd name="T19" fmla="*/ 1547 h 1777"/>
                    <a:gd name="T20" fmla="*/ 1703 w 1811"/>
                    <a:gd name="T21" fmla="*/ 1547 h 1777"/>
                    <a:gd name="T22" fmla="*/ 1811 w 1811"/>
                    <a:gd name="T23" fmla="*/ 1310 h 1777"/>
                    <a:gd name="T24" fmla="*/ 1811 w 1811"/>
                    <a:gd name="T25" fmla="*/ 832 h 1777"/>
                    <a:gd name="T26" fmla="*/ 1811 w 1811"/>
                    <a:gd name="T27" fmla="*/ 832 h 1777"/>
                    <a:gd name="T28" fmla="*/ 1811 w 1811"/>
                    <a:gd name="T29" fmla="*/ 419 h 1777"/>
                    <a:gd name="T30" fmla="*/ 1691 w 1811"/>
                    <a:gd name="T31" fmla="*/ 192 h 1777"/>
                    <a:gd name="T32" fmla="*/ 907 w 1811"/>
                    <a:gd name="T33" fmla="*/ 167 h 1777"/>
                    <a:gd name="T34" fmla="*/ 1646 w 1811"/>
                    <a:gd name="T35" fmla="*/ 419 h 1777"/>
                    <a:gd name="T36" fmla="*/ 907 w 1811"/>
                    <a:gd name="T37" fmla="*/ 672 h 1777"/>
                    <a:gd name="T38" fmla="*/ 167 w 1811"/>
                    <a:gd name="T39" fmla="*/ 419 h 1777"/>
                    <a:gd name="T40" fmla="*/ 907 w 1811"/>
                    <a:gd name="T41" fmla="*/ 167 h 1777"/>
                    <a:gd name="T42" fmla="*/ 167 w 1811"/>
                    <a:gd name="T43" fmla="*/ 593 h 1777"/>
                    <a:gd name="T44" fmla="*/ 232 w 1811"/>
                    <a:gd name="T45" fmla="*/ 638 h 1777"/>
                    <a:gd name="T46" fmla="*/ 907 w 1811"/>
                    <a:gd name="T47" fmla="*/ 771 h 1777"/>
                    <a:gd name="T48" fmla="*/ 1455 w 1811"/>
                    <a:gd name="T49" fmla="*/ 692 h 1777"/>
                    <a:gd name="T50" fmla="*/ 1641 w 1811"/>
                    <a:gd name="T51" fmla="*/ 598 h 1777"/>
                    <a:gd name="T52" fmla="*/ 1646 w 1811"/>
                    <a:gd name="T53" fmla="*/ 593 h 1777"/>
                    <a:gd name="T54" fmla="*/ 1646 w 1811"/>
                    <a:gd name="T55" fmla="*/ 774 h 1777"/>
                    <a:gd name="T56" fmla="*/ 1646 w 1811"/>
                    <a:gd name="T57" fmla="*/ 822 h 1777"/>
                    <a:gd name="T58" fmla="*/ 1245 w 1811"/>
                    <a:gd name="T59" fmla="*/ 932 h 1777"/>
                    <a:gd name="T60" fmla="*/ 901 w 1811"/>
                    <a:gd name="T61" fmla="*/ 962 h 1777"/>
                    <a:gd name="T62" fmla="*/ 167 w 1811"/>
                    <a:gd name="T63" fmla="*/ 722 h 1777"/>
                    <a:gd name="T64" fmla="*/ 167 w 1811"/>
                    <a:gd name="T65" fmla="*/ 593 h 1777"/>
                    <a:gd name="T66" fmla="*/ 167 w 1811"/>
                    <a:gd name="T67" fmla="*/ 1049 h 1777"/>
                    <a:gd name="T68" fmla="*/ 167 w 1811"/>
                    <a:gd name="T69" fmla="*/ 884 h 1777"/>
                    <a:gd name="T70" fmla="*/ 232 w 1811"/>
                    <a:gd name="T71" fmla="*/ 929 h 1777"/>
                    <a:gd name="T72" fmla="*/ 901 w 1811"/>
                    <a:gd name="T73" fmla="*/ 1058 h 1777"/>
                    <a:gd name="T74" fmla="*/ 1183 w 1811"/>
                    <a:gd name="T75" fmla="*/ 1040 h 1777"/>
                    <a:gd name="T76" fmla="*/ 1646 w 1811"/>
                    <a:gd name="T77" fmla="*/ 934 h 1777"/>
                    <a:gd name="T78" fmla="*/ 1646 w 1811"/>
                    <a:gd name="T79" fmla="*/ 1138 h 1777"/>
                    <a:gd name="T80" fmla="*/ 1159 w 1811"/>
                    <a:gd name="T81" fmla="*/ 1252 h 1777"/>
                    <a:gd name="T82" fmla="*/ 901 w 1811"/>
                    <a:gd name="T83" fmla="*/ 1268 h 1777"/>
                    <a:gd name="T84" fmla="*/ 167 w 1811"/>
                    <a:gd name="T85" fmla="*/ 1053 h 1777"/>
                    <a:gd name="T86" fmla="*/ 167 w 1811"/>
                    <a:gd name="T87" fmla="*/ 1049 h 1777"/>
                    <a:gd name="T88" fmla="*/ 907 w 1811"/>
                    <a:gd name="T89" fmla="*/ 1611 h 1777"/>
                    <a:gd name="T90" fmla="*/ 167 w 1811"/>
                    <a:gd name="T91" fmla="*/ 1306 h 1777"/>
                    <a:gd name="T92" fmla="*/ 167 w 1811"/>
                    <a:gd name="T93" fmla="*/ 1196 h 1777"/>
                    <a:gd name="T94" fmla="*/ 226 w 1811"/>
                    <a:gd name="T95" fmla="*/ 1233 h 1777"/>
                    <a:gd name="T96" fmla="*/ 901 w 1811"/>
                    <a:gd name="T97" fmla="*/ 1365 h 1777"/>
                    <a:gd name="T98" fmla="*/ 1157 w 1811"/>
                    <a:gd name="T99" fmla="*/ 1350 h 1777"/>
                    <a:gd name="T100" fmla="*/ 1646 w 1811"/>
                    <a:gd name="T101" fmla="*/ 1241 h 1777"/>
                    <a:gd name="T102" fmla="*/ 1646 w 1811"/>
                    <a:gd name="T103" fmla="*/ 1394 h 1777"/>
                    <a:gd name="T104" fmla="*/ 1517 w 1811"/>
                    <a:gd name="T105" fmla="*/ 1510 h 1777"/>
                    <a:gd name="T106" fmla="*/ 1153 w 1811"/>
                    <a:gd name="T107" fmla="*/ 1594 h 1777"/>
                    <a:gd name="T108" fmla="*/ 907 w 1811"/>
                    <a:gd name="T109" fmla="*/ 1611 h 17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811" h="1777">
                      <a:moveTo>
                        <a:pt x="1691" y="192"/>
                      </a:moveTo>
                      <a:cubicBezTo>
                        <a:pt x="1512" y="56"/>
                        <a:pt x="1237" y="5"/>
                        <a:pt x="907" y="0"/>
                      </a:cubicBezTo>
                      <a:cubicBezTo>
                        <a:pt x="686" y="0"/>
                        <a:pt x="486" y="30"/>
                        <a:pt x="330" y="83"/>
                      </a:cubicBezTo>
                      <a:cubicBezTo>
                        <a:pt x="250" y="111"/>
                        <a:pt x="181" y="143"/>
                        <a:pt x="120" y="192"/>
                      </a:cubicBezTo>
                      <a:cubicBezTo>
                        <a:pt x="61" y="237"/>
                        <a:pt x="0" y="315"/>
                        <a:pt x="0" y="419"/>
                      </a:cubicBezTo>
                      <a:cubicBezTo>
                        <a:pt x="0" y="1306"/>
                        <a:pt x="0" y="1306"/>
                        <a:pt x="0" y="1306"/>
                      </a:cubicBezTo>
                      <a:cubicBezTo>
                        <a:pt x="0" y="1405"/>
                        <a:pt x="49" y="1488"/>
                        <a:pt x="108" y="1543"/>
                      </a:cubicBezTo>
                      <a:cubicBezTo>
                        <a:pt x="286" y="1707"/>
                        <a:pt x="571" y="1772"/>
                        <a:pt x="907" y="1777"/>
                      </a:cubicBezTo>
                      <a:cubicBezTo>
                        <a:pt x="989" y="1777"/>
                        <a:pt x="1074" y="1772"/>
                        <a:pt x="1150" y="1762"/>
                      </a:cubicBezTo>
                      <a:cubicBezTo>
                        <a:pt x="1150" y="1762"/>
                        <a:pt x="1560" y="1688"/>
                        <a:pt x="1700" y="1547"/>
                      </a:cubicBezTo>
                      <a:cubicBezTo>
                        <a:pt x="1703" y="1547"/>
                        <a:pt x="1703" y="1547"/>
                        <a:pt x="1703" y="1547"/>
                      </a:cubicBezTo>
                      <a:cubicBezTo>
                        <a:pt x="1762" y="1492"/>
                        <a:pt x="1811" y="1409"/>
                        <a:pt x="1811" y="1310"/>
                      </a:cubicBezTo>
                      <a:cubicBezTo>
                        <a:pt x="1811" y="1310"/>
                        <a:pt x="1811" y="1310"/>
                        <a:pt x="1811" y="832"/>
                      </a:cubicBezTo>
                      <a:cubicBezTo>
                        <a:pt x="1811" y="832"/>
                        <a:pt x="1811" y="832"/>
                        <a:pt x="1811" y="832"/>
                      </a:cubicBezTo>
                      <a:cubicBezTo>
                        <a:pt x="1811" y="419"/>
                        <a:pt x="1811" y="419"/>
                        <a:pt x="1811" y="419"/>
                      </a:cubicBezTo>
                      <a:cubicBezTo>
                        <a:pt x="1811" y="315"/>
                        <a:pt x="1750" y="237"/>
                        <a:pt x="1691" y="192"/>
                      </a:cubicBezTo>
                      <a:close/>
                      <a:moveTo>
                        <a:pt x="907" y="167"/>
                      </a:moveTo>
                      <a:cubicBezTo>
                        <a:pt x="1313" y="167"/>
                        <a:pt x="1646" y="280"/>
                        <a:pt x="1646" y="419"/>
                      </a:cubicBezTo>
                      <a:cubicBezTo>
                        <a:pt x="1646" y="559"/>
                        <a:pt x="1313" y="672"/>
                        <a:pt x="907" y="672"/>
                      </a:cubicBezTo>
                      <a:cubicBezTo>
                        <a:pt x="498" y="672"/>
                        <a:pt x="167" y="559"/>
                        <a:pt x="167" y="419"/>
                      </a:cubicBezTo>
                      <a:cubicBezTo>
                        <a:pt x="167" y="280"/>
                        <a:pt x="498" y="167"/>
                        <a:pt x="907" y="167"/>
                      </a:cubicBezTo>
                      <a:close/>
                      <a:moveTo>
                        <a:pt x="167" y="593"/>
                      </a:moveTo>
                      <a:cubicBezTo>
                        <a:pt x="186" y="609"/>
                        <a:pt x="208" y="625"/>
                        <a:pt x="232" y="638"/>
                      </a:cubicBezTo>
                      <a:cubicBezTo>
                        <a:pt x="385" y="722"/>
                        <a:pt x="626" y="769"/>
                        <a:pt x="907" y="771"/>
                      </a:cubicBezTo>
                      <a:cubicBezTo>
                        <a:pt x="1117" y="771"/>
                        <a:pt x="1310" y="742"/>
                        <a:pt x="1455" y="692"/>
                      </a:cubicBezTo>
                      <a:cubicBezTo>
                        <a:pt x="1529" y="667"/>
                        <a:pt x="1590" y="636"/>
                        <a:pt x="1641" y="598"/>
                      </a:cubicBezTo>
                      <a:cubicBezTo>
                        <a:pt x="1642" y="596"/>
                        <a:pt x="1644" y="594"/>
                        <a:pt x="1646" y="593"/>
                      </a:cubicBezTo>
                      <a:cubicBezTo>
                        <a:pt x="1646" y="774"/>
                        <a:pt x="1646" y="774"/>
                        <a:pt x="1646" y="774"/>
                      </a:cubicBezTo>
                      <a:cubicBezTo>
                        <a:pt x="1646" y="822"/>
                        <a:pt x="1646" y="822"/>
                        <a:pt x="1646" y="822"/>
                      </a:cubicBezTo>
                      <a:cubicBezTo>
                        <a:pt x="1472" y="895"/>
                        <a:pt x="1245" y="932"/>
                        <a:pt x="1245" y="932"/>
                      </a:cubicBezTo>
                      <a:cubicBezTo>
                        <a:pt x="1143" y="950"/>
                        <a:pt x="1025" y="962"/>
                        <a:pt x="901" y="962"/>
                      </a:cubicBezTo>
                      <a:cubicBezTo>
                        <a:pt x="505" y="962"/>
                        <a:pt x="182" y="854"/>
                        <a:pt x="167" y="722"/>
                      </a:cubicBezTo>
                      <a:cubicBezTo>
                        <a:pt x="167" y="593"/>
                        <a:pt x="167" y="593"/>
                        <a:pt x="167" y="593"/>
                      </a:cubicBezTo>
                      <a:close/>
                      <a:moveTo>
                        <a:pt x="167" y="1049"/>
                      </a:moveTo>
                      <a:cubicBezTo>
                        <a:pt x="167" y="940"/>
                        <a:pt x="167" y="899"/>
                        <a:pt x="167" y="884"/>
                      </a:cubicBezTo>
                      <a:cubicBezTo>
                        <a:pt x="187" y="901"/>
                        <a:pt x="209" y="914"/>
                        <a:pt x="232" y="929"/>
                      </a:cubicBezTo>
                      <a:cubicBezTo>
                        <a:pt x="385" y="1012"/>
                        <a:pt x="625" y="1058"/>
                        <a:pt x="901" y="1058"/>
                      </a:cubicBezTo>
                      <a:cubicBezTo>
                        <a:pt x="1000" y="1058"/>
                        <a:pt x="1096" y="1048"/>
                        <a:pt x="1183" y="1040"/>
                      </a:cubicBezTo>
                      <a:cubicBezTo>
                        <a:pt x="1381" y="1022"/>
                        <a:pt x="1569" y="961"/>
                        <a:pt x="1646" y="934"/>
                      </a:cubicBezTo>
                      <a:cubicBezTo>
                        <a:pt x="1646" y="1138"/>
                        <a:pt x="1646" y="1138"/>
                        <a:pt x="1646" y="1138"/>
                      </a:cubicBezTo>
                      <a:cubicBezTo>
                        <a:pt x="1283" y="1244"/>
                        <a:pt x="1159" y="1252"/>
                        <a:pt x="1159" y="1252"/>
                      </a:cubicBezTo>
                      <a:cubicBezTo>
                        <a:pt x="1079" y="1262"/>
                        <a:pt x="991" y="1268"/>
                        <a:pt x="901" y="1268"/>
                      </a:cubicBezTo>
                      <a:cubicBezTo>
                        <a:pt x="527" y="1268"/>
                        <a:pt x="218" y="1174"/>
                        <a:pt x="167" y="1053"/>
                      </a:cubicBezTo>
                      <a:cubicBezTo>
                        <a:pt x="167" y="1049"/>
                        <a:pt x="167" y="1049"/>
                        <a:pt x="167" y="1049"/>
                      </a:cubicBezTo>
                      <a:close/>
                      <a:moveTo>
                        <a:pt x="907" y="1611"/>
                      </a:moveTo>
                      <a:cubicBezTo>
                        <a:pt x="498" y="1611"/>
                        <a:pt x="167" y="1474"/>
                        <a:pt x="167" y="1306"/>
                      </a:cubicBezTo>
                      <a:cubicBezTo>
                        <a:pt x="167" y="1262"/>
                        <a:pt x="167" y="1226"/>
                        <a:pt x="167" y="1196"/>
                      </a:cubicBezTo>
                      <a:cubicBezTo>
                        <a:pt x="186" y="1210"/>
                        <a:pt x="205" y="1221"/>
                        <a:pt x="226" y="1233"/>
                      </a:cubicBezTo>
                      <a:cubicBezTo>
                        <a:pt x="378" y="1318"/>
                        <a:pt x="622" y="1365"/>
                        <a:pt x="901" y="1365"/>
                      </a:cubicBezTo>
                      <a:cubicBezTo>
                        <a:pt x="991" y="1365"/>
                        <a:pt x="1076" y="1359"/>
                        <a:pt x="1157" y="1350"/>
                      </a:cubicBezTo>
                      <a:cubicBezTo>
                        <a:pt x="1346" y="1327"/>
                        <a:pt x="1544" y="1272"/>
                        <a:pt x="1646" y="1241"/>
                      </a:cubicBezTo>
                      <a:cubicBezTo>
                        <a:pt x="1646" y="1394"/>
                        <a:pt x="1646" y="1394"/>
                        <a:pt x="1646" y="1394"/>
                      </a:cubicBezTo>
                      <a:cubicBezTo>
                        <a:pt x="1636" y="1419"/>
                        <a:pt x="1607" y="1462"/>
                        <a:pt x="1517" y="1510"/>
                      </a:cubicBezTo>
                      <a:cubicBezTo>
                        <a:pt x="1291" y="1579"/>
                        <a:pt x="1153" y="1594"/>
                        <a:pt x="1153" y="1594"/>
                      </a:cubicBezTo>
                      <a:cubicBezTo>
                        <a:pt x="1077" y="1606"/>
                        <a:pt x="991" y="1611"/>
                        <a:pt x="907" y="1611"/>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555491"/>
                  <a:endParaRPr lang="en-US" spc="-92">
                    <a:solidFill>
                      <a:schemeClr val="tx1">
                        <a:lumMod val="50000"/>
                      </a:schemeClr>
                    </a:solidFill>
                    <a:latin typeface="Segoe Light" pitchFamily="34" charset="0"/>
                  </a:endParaRPr>
                </a:p>
              </p:txBody>
            </p:sp>
            <p:sp>
              <p:nvSpPr>
                <p:cNvPr id="147" name="Freeform 146"/>
                <p:cNvSpPr>
                  <a:spLocks noEditPoints="1"/>
                </p:cNvSpPr>
                <p:nvPr/>
              </p:nvSpPr>
              <p:spPr bwMode="black">
                <a:xfrm>
                  <a:off x="8480471" y="4278533"/>
                  <a:ext cx="298127" cy="601200"/>
                </a:xfrm>
                <a:custGeom>
                  <a:avLst/>
                  <a:gdLst/>
                  <a:ahLst/>
                  <a:cxnLst>
                    <a:cxn ang="0">
                      <a:pos x="260" y="0"/>
                    </a:cxn>
                    <a:cxn ang="0">
                      <a:pos x="7" y="0"/>
                    </a:cxn>
                    <a:cxn ang="0">
                      <a:pos x="0" y="7"/>
                    </a:cxn>
                    <a:cxn ang="0">
                      <a:pos x="0" y="112"/>
                    </a:cxn>
                    <a:cxn ang="0">
                      <a:pos x="0" y="119"/>
                    </a:cxn>
                    <a:cxn ang="0">
                      <a:pos x="0" y="531"/>
                    </a:cxn>
                    <a:cxn ang="0">
                      <a:pos x="7" y="538"/>
                    </a:cxn>
                    <a:cxn ang="0">
                      <a:pos x="260" y="538"/>
                    </a:cxn>
                    <a:cxn ang="0">
                      <a:pos x="267" y="531"/>
                    </a:cxn>
                    <a:cxn ang="0">
                      <a:pos x="267" y="119"/>
                    </a:cxn>
                    <a:cxn ang="0">
                      <a:pos x="267" y="112"/>
                    </a:cxn>
                    <a:cxn ang="0">
                      <a:pos x="267" y="7"/>
                    </a:cxn>
                    <a:cxn ang="0">
                      <a:pos x="260" y="0"/>
                    </a:cxn>
                    <a:cxn ang="0">
                      <a:pos x="32" y="82"/>
                    </a:cxn>
                    <a:cxn ang="0">
                      <a:pos x="32" y="57"/>
                    </a:cxn>
                    <a:cxn ang="0">
                      <a:pos x="39" y="50"/>
                    </a:cxn>
                    <a:cxn ang="0">
                      <a:pos x="228" y="50"/>
                    </a:cxn>
                    <a:cxn ang="0">
                      <a:pos x="235" y="57"/>
                    </a:cxn>
                    <a:cxn ang="0">
                      <a:pos x="235" y="82"/>
                    </a:cxn>
                    <a:cxn ang="0">
                      <a:pos x="228" y="89"/>
                    </a:cxn>
                    <a:cxn ang="0">
                      <a:pos x="39" y="89"/>
                    </a:cxn>
                    <a:cxn ang="0">
                      <a:pos x="32" y="82"/>
                    </a:cxn>
                    <a:cxn ang="0">
                      <a:pos x="213" y="254"/>
                    </a:cxn>
                    <a:cxn ang="0">
                      <a:pos x="195" y="236"/>
                    </a:cxn>
                    <a:cxn ang="0">
                      <a:pos x="213" y="218"/>
                    </a:cxn>
                    <a:cxn ang="0">
                      <a:pos x="232" y="236"/>
                    </a:cxn>
                    <a:cxn ang="0">
                      <a:pos x="213" y="254"/>
                    </a:cxn>
                    <a:cxn ang="0">
                      <a:pos x="213" y="194"/>
                    </a:cxn>
                    <a:cxn ang="0">
                      <a:pos x="189" y="170"/>
                    </a:cxn>
                    <a:cxn ang="0">
                      <a:pos x="213" y="146"/>
                    </a:cxn>
                    <a:cxn ang="0">
                      <a:pos x="238" y="170"/>
                    </a:cxn>
                    <a:cxn ang="0">
                      <a:pos x="213" y="194"/>
                    </a:cxn>
                  </a:cxnLst>
                  <a:rect l="0" t="0" r="r" b="b"/>
                  <a:pathLst>
                    <a:path w="267" h="538">
                      <a:moveTo>
                        <a:pt x="260" y="0"/>
                      </a:moveTo>
                      <a:cubicBezTo>
                        <a:pt x="7" y="0"/>
                        <a:pt x="7" y="0"/>
                        <a:pt x="7" y="0"/>
                      </a:cubicBezTo>
                      <a:cubicBezTo>
                        <a:pt x="3" y="0"/>
                        <a:pt x="0" y="3"/>
                        <a:pt x="0" y="7"/>
                      </a:cubicBezTo>
                      <a:cubicBezTo>
                        <a:pt x="0" y="112"/>
                        <a:pt x="0" y="112"/>
                        <a:pt x="0" y="112"/>
                      </a:cubicBezTo>
                      <a:cubicBezTo>
                        <a:pt x="0" y="119"/>
                        <a:pt x="0" y="119"/>
                        <a:pt x="0" y="119"/>
                      </a:cubicBezTo>
                      <a:cubicBezTo>
                        <a:pt x="0" y="531"/>
                        <a:pt x="0" y="531"/>
                        <a:pt x="0" y="531"/>
                      </a:cubicBezTo>
                      <a:cubicBezTo>
                        <a:pt x="0" y="535"/>
                        <a:pt x="3" y="538"/>
                        <a:pt x="7" y="538"/>
                      </a:cubicBezTo>
                      <a:cubicBezTo>
                        <a:pt x="260" y="538"/>
                        <a:pt x="260" y="538"/>
                        <a:pt x="260" y="538"/>
                      </a:cubicBezTo>
                      <a:cubicBezTo>
                        <a:pt x="264" y="538"/>
                        <a:pt x="267" y="535"/>
                        <a:pt x="267" y="531"/>
                      </a:cubicBezTo>
                      <a:cubicBezTo>
                        <a:pt x="267" y="119"/>
                        <a:pt x="267" y="119"/>
                        <a:pt x="267" y="119"/>
                      </a:cubicBezTo>
                      <a:cubicBezTo>
                        <a:pt x="267" y="112"/>
                        <a:pt x="267" y="112"/>
                        <a:pt x="267" y="112"/>
                      </a:cubicBezTo>
                      <a:cubicBezTo>
                        <a:pt x="267" y="7"/>
                        <a:pt x="267" y="7"/>
                        <a:pt x="267" y="7"/>
                      </a:cubicBezTo>
                      <a:cubicBezTo>
                        <a:pt x="267" y="3"/>
                        <a:pt x="264" y="0"/>
                        <a:pt x="260" y="0"/>
                      </a:cubicBezTo>
                      <a:close/>
                      <a:moveTo>
                        <a:pt x="32" y="82"/>
                      </a:moveTo>
                      <a:cubicBezTo>
                        <a:pt x="32" y="57"/>
                        <a:pt x="32" y="57"/>
                        <a:pt x="32" y="57"/>
                      </a:cubicBezTo>
                      <a:cubicBezTo>
                        <a:pt x="32" y="53"/>
                        <a:pt x="35" y="50"/>
                        <a:pt x="39" y="50"/>
                      </a:cubicBezTo>
                      <a:cubicBezTo>
                        <a:pt x="228" y="50"/>
                        <a:pt x="228" y="50"/>
                        <a:pt x="228" y="50"/>
                      </a:cubicBezTo>
                      <a:cubicBezTo>
                        <a:pt x="232" y="50"/>
                        <a:pt x="235" y="53"/>
                        <a:pt x="235" y="57"/>
                      </a:cubicBezTo>
                      <a:cubicBezTo>
                        <a:pt x="235" y="82"/>
                        <a:pt x="235" y="82"/>
                        <a:pt x="235" y="82"/>
                      </a:cubicBezTo>
                      <a:cubicBezTo>
                        <a:pt x="235" y="86"/>
                        <a:pt x="232" y="89"/>
                        <a:pt x="228" y="89"/>
                      </a:cubicBezTo>
                      <a:cubicBezTo>
                        <a:pt x="39" y="89"/>
                        <a:pt x="39" y="89"/>
                        <a:pt x="39" y="89"/>
                      </a:cubicBezTo>
                      <a:cubicBezTo>
                        <a:pt x="35" y="89"/>
                        <a:pt x="32" y="86"/>
                        <a:pt x="32" y="82"/>
                      </a:cubicBezTo>
                      <a:close/>
                      <a:moveTo>
                        <a:pt x="213" y="254"/>
                      </a:moveTo>
                      <a:cubicBezTo>
                        <a:pt x="203" y="254"/>
                        <a:pt x="195" y="246"/>
                        <a:pt x="195" y="236"/>
                      </a:cubicBezTo>
                      <a:cubicBezTo>
                        <a:pt x="195" y="226"/>
                        <a:pt x="203" y="218"/>
                        <a:pt x="213" y="218"/>
                      </a:cubicBezTo>
                      <a:cubicBezTo>
                        <a:pt x="223" y="218"/>
                        <a:pt x="232" y="226"/>
                        <a:pt x="232" y="236"/>
                      </a:cubicBezTo>
                      <a:cubicBezTo>
                        <a:pt x="232" y="246"/>
                        <a:pt x="223" y="254"/>
                        <a:pt x="213" y="254"/>
                      </a:cubicBezTo>
                      <a:close/>
                      <a:moveTo>
                        <a:pt x="213" y="194"/>
                      </a:moveTo>
                      <a:cubicBezTo>
                        <a:pt x="200" y="194"/>
                        <a:pt x="189" y="183"/>
                        <a:pt x="189" y="170"/>
                      </a:cubicBezTo>
                      <a:cubicBezTo>
                        <a:pt x="189" y="156"/>
                        <a:pt x="200" y="146"/>
                        <a:pt x="213" y="146"/>
                      </a:cubicBezTo>
                      <a:cubicBezTo>
                        <a:pt x="227" y="146"/>
                        <a:pt x="238" y="156"/>
                        <a:pt x="238" y="170"/>
                      </a:cubicBezTo>
                      <a:cubicBezTo>
                        <a:pt x="238" y="183"/>
                        <a:pt x="227" y="194"/>
                        <a:pt x="213" y="194"/>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bodyPr>
                <a:lstStyle/>
                <a:p>
                  <a:pPr defTabSz="555491"/>
                  <a:r>
                    <a:rPr lang="en-US" spc="-92" dirty="0">
                      <a:solidFill>
                        <a:schemeClr val="tx1">
                          <a:lumMod val="50000"/>
                        </a:schemeClr>
                      </a:solidFill>
                      <a:latin typeface="Segoe Light" pitchFamily="34" charset="0"/>
                    </a:rPr>
                    <a:t> </a:t>
                  </a:r>
                </a:p>
              </p:txBody>
            </p:sp>
          </p:grpSp>
        </p:grpSp>
      </p:grpSp>
      <p:sp>
        <p:nvSpPr>
          <p:cNvPr id="150" name="TextBox 149"/>
          <p:cNvSpPr txBox="1"/>
          <p:nvPr/>
        </p:nvSpPr>
        <p:spPr>
          <a:xfrm>
            <a:off x="5817377" y="4333204"/>
            <a:ext cx="851759" cy="553998"/>
          </a:xfrm>
          <a:prstGeom prst="rect">
            <a:avLst/>
          </a:prstGeom>
          <a:noFill/>
        </p:spPr>
        <p:txBody>
          <a:bodyPr wrap="square" lIns="0" tIns="0" rIns="0" bIns="0" rtlCol="0">
            <a:spAutoFit/>
          </a:bodyPr>
          <a:lstStyle>
            <a:defPPr>
              <a:defRPr lang="en-US"/>
            </a:defPPr>
            <a:lvl1pPr algn="ctr">
              <a:defRPr sz="1200" b="1">
                <a:solidFill>
                  <a:schemeClr val="accent6">
                    <a:alpha val="99000"/>
                  </a:schemeClr>
                </a:solidFill>
              </a:defRPr>
            </a:lvl1pPr>
          </a:lstStyle>
          <a:p>
            <a:r>
              <a:rPr lang="en-US" dirty="0"/>
              <a:t>AD Subnet</a:t>
            </a:r>
          </a:p>
          <a:p>
            <a:r>
              <a:rPr lang="en-US" dirty="0"/>
              <a:t>(10.2.0.0/16)</a:t>
            </a:r>
          </a:p>
        </p:txBody>
      </p:sp>
      <p:sp>
        <p:nvSpPr>
          <p:cNvPr id="152" name="Rectangle 151"/>
          <p:cNvSpPr/>
          <p:nvPr/>
        </p:nvSpPr>
        <p:spPr>
          <a:xfrm>
            <a:off x="5841751" y="1090606"/>
            <a:ext cx="1533130" cy="253926"/>
          </a:xfrm>
          <a:prstGeom prst="rect">
            <a:avLst/>
          </a:prstGeom>
        </p:spPr>
        <p:txBody>
          <a:bodyPr wrap="none" lIns="68571" tIns="34286" rIns="68571" bIns="34286">
            <a:spAutoFit/>
          </a:bodyPr>
          <a:lstStyle/>
          <a:p>
            <a:r>
              <a:rPr lang="en-US" sz="1200" b="1" spc="-75" dirty="0" err="1">
                <a:ln w="3175">
                  <a:noFill/>
                </a:ln>
                <a:solidFill>
                  <a:schemeClr val="accent4">
                    <a:alpha val="99000"/>
                  </a:schemeClr>
                </a:solidFill>
                <a:latin typeface="Segoe UI Light" pitchFamily="34" charset="0"/>
                <a:cs typeface="Arial" charset="0"/>
              </a:rPr>
              <a:t>ContosoVNet</a:t>
            </a:r>
            <a:r>
              <a:rPr lang="en-US" sz="1200" b="1" spc="-75" dirty="0">
                <a:ln w="3175">
                  <a:noFill/>
                </a:ln>
                <a:solidFill>
                  <a:schemeClr val="accent4">
                    <a:alpha val="99000"/>
                  </a:schemeClr>
                </a:solidFill>
                <a:latin typeface="Segoe UI Light" pitchFamily="34" charset="0"/>
                <a:cs typeface="Arial" charset="0"/>
              </a:rPr>
              <a:t> (10.0.0.0/8)</a:t>
            </a:r>
          </a:p>
        </p:txBody>
      </p:sp>
      <p:sp>
        <p:nvSpPr>
          <p:cNvPr id="3" name="Rectangle 2"/>
          <p:cNvSpPr/>
          <p:nvPr/>
        </p:nvSpPr>
        <p:spPr bwMode="auto">
          <a:xfrm>
            <a:off x="5724802" y="961298"/>
            <a:ext cx="3184737" cy="4001477"/>
          </a:xfrm>
          <a:prstGeom prst="rect">
            <a:avLst/>
          </a:prstGeom>
          <a:noFill/>
          <a:ln w="22225">
            <a:solidFill>
              <a:schemeClr val="accent4"/>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12" tIns="45706" rIns="91412" bIns="45706" numCol="1" rtlCol="0" anchor="ctr" anchorCtr="0" compatLnSpc="1">
            <a:prstTxWarp prst="textNoShape">
              <a:avLst/>
            </a:prstTxWarp>
          </a:bodyPr>
          <a:lstStyle/>
          <a:p>
            <a:pPr algn="ctr" defTabSz="913871" fontAlgn="base">
              <a:spcBef>
                <a:spcPct val="0"/>
              </a:spcBef>
              <a:spcAft>
                <a:spcPct val="0"/>
              </a:spcAft>
            </a:pPr>
            <a:endParaRPr lang="en-US" sz="22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53733840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xEl>
                                              <p:pRg st="0" end="0"/>
                                            </p:txEl>
                                          </p:spTgt>
                                        </p:tgtEl>
                                        <p:attrNameLst>
                                          <p:attrName>style.visibility</p:attrName>
                                        </p:attrNameLst>
                                      </p:cBhvr>
                                      <p:to>
                                        <p:strVal val="visible"/>
                                      </p:to>
                                    </p:set>
                                    <p:animEffect transition="in" filter="fade">
                                      <p:cBhvr>
                                        <p:cTn id="7" dur="500"/>
                                        <p:tgtEl>
                                          <p:spTgt spid="34">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4">
                                            <p:txEl>
                                              <p:pRg st="1" end="1"/>
                                            </p:txEl>
                                          </p:spTgt>
                                        </p:tgtEl>
                                        <p:attrNameLst>
                                          <p:attrName>style.visibility</p:attrName>
                                        </p:attrNameLst>
                                      </p:cBhvr>
                                      <p:to>
                                        <p:strVal val="visible"/>
                                      </p:to>
                                    </p:set>
                                    <p:animEffect transition="in" filter="fade">
                                      <p:cBhvr>
                                        <p:cTn id="10" dur="500"/>
                                        <p:tgtEl>
                                          <p:spTgt spid="34">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xEl>
                                              <p:pRg st="2" end="2"/>
                                            </p:txEl>
                                          </p:spTgt>
                                        </p:tgtEl>
                                        <p:attrNameLst>
                                          <p:attrName>style.visibility</p:attrName>
                                        </p:attrNameLst>
                                      </p:cBhvr>
                                      <p:to>
                                        <p:strVal val="visible"/>
                                      </p:to>
                                    </p:set>
                                    <p:animEffect transition="in" filter="fade">
                                      <p:cBhvr>
                                        <p:cTn id="13" dur="500"/>
                                        <p:tgtEl>
                                          <p:spTgt spid="34">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xEl>
                                              <p:pRg st="3" end="3"/>
                                            </p:txEl>
                                          </p:spTgt>
                                        </p:tgtEl>
                                        <p:attrNameLst>
                                          <p:attrName>style.visibility</p:attrName>
                                        </p:attrNameLst>
                                      </p:cBhvr>
                                      <p:to>
                                        <p:strVal val="visible"/>
                                      </p:to>
                                    </p:set>
                                    <p:animEffect transition="in" filter="fade">
                                      <p:cBhvr>
                                        <p:cTn id="16" dur="500"/>
                                        <p:tgtEl>
                                          <p:spTgt spid="34">
                                            <p:txEl>
                                              <p:pRg st="3" end="3"/>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xEl>
                                              <p:pRg st="4" end="4"/>
                                            </p:txEl>
                                          </p:spTgt>
                                        </p:tgtEl>
                                        <p:attrNameLst>
                                          <p:attrName>style.visibility</p:attrName>
                                        </p:attrNameLst>
                                      </p:cBhvr>
                                      <p:to>
                                        <p:strVal val="visible"/>
                                      </p:to>
                                    </p:set>
                                    <p:animEffect transition="in" filter="fade">
                                      <p:cBhvr>
                                        <p:cTn id="19" dur="500"/>
                                        <p:tgtEl>
                                          <p:spTgt spid="34">
                                            <p:txEl>
                                              <p:pRg st="4" end="4"/>
                                            </p:txEl>
                                          </p:spTgt>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40"/>
                                        </p:tgtEl>
                                        <p:attrNameLst>
                                          <p:attrName>style.visibility</p:attrName>
                                        </p:attrNameLst>
                                      </p:cBhvr>
                                      <p:to>
                                        <p:strVal val="visible"/>
                                      </p:to>
                                    </p:set>
                                    <p:animEffect transition="in" filter="fade">
                                      <p:cBhvr>
                                        <p:cTn id="24"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build="p"/>
      <p:bldP spid="4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574286978"/>
              </p:ext>
            </p:extLst>
          </p:nvPr>
        </p:nvGraphicFramePr>
        <p:xfrm>
          <a:off x="392290" y="819153"/>
          <a:ext cx="8361084" cy="3910890"/>
        </p:xfrm>
        <a:graphic>
          <a:graphicData uri="http://schemas.openxmlformats.org/drawingml/2006/table">
            <a:tbl>
              <a:tblPr lastCol="1">
                <a:tableStyleId>{2D5ABB26-0587-4C30-8999-92F81FD0307C}</a:tableStyleId>
              </a:tblPr>
              <a:tblGrid>
                <a:gridCol w="1825984"/>
                <a:gridCol w="2936525"/>
                <a:gridCol w="3598575"/>
              </a:tblGrid>
              <a:tr h="315057">
                <a:tc>
                  <a:txBody>
                    <a:bodyPr/>
                    <a:lstStyle/>
                    <a:p>
                      <a:endParaRPr lang="en-US" sz="1400" dirty="0"/>
                    </a:p>
                  </a:txBody>
                  <a:tcPr>
                    <a:lnB>
                      <a:noFill/>
                    </a:lnB>
                    <a:solidFill>
                      <a:schemeClr val="bg2"/>
                    </a:solidFill>
                  </a:tcPr>
                </a:tc>
                <a:tc>
                  <a:txBody>
                    <a:bodyPr/>
                    <a:lstStyle/>
                    <a:p>
                      <a:r>
                        <a:rPr lang="en-US" sz="1400" b="1" dirty="0" smtClean="0">
                          <a:solidFill>
                            <a:schemeClr val="bg1">
                              <a:alpha val="99000"/>
                            </a:schemeClr>
                          </a:solidFill>
                        </a:rPr>
                        <a:t>VM Role</a:t>
                      </a:r>
                      <a:endParaRPr lang="en-US" sz="1400" b="1" dirty="0">
                        <a:solidFill>
                          <a:schemeClr val="bg1">
                            <a:alpha val="99000"/>
                          </a:schemeClr>
                        </a:solidFill>
                      </a:endParaRP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1"/>
                    </a:solidFill>
                  </a:tcPr>
                </a:tc>
                <a:tc>
                  <a:txBody>
                    <a:bodyPr/>
                    <a:lstStyle/>
                    <a:p>
                      <a:r>
                        <a:rPr lang="en-US" sz="1400" b="1" dirty="0" smtClean="0">
                          <a:solidFill>
                            <a:schemeClr val="bg1">
                              <a:alpha val="99000"/>
                            </a:schemeClr>
                          </a:solidFill>
                        </a:rPr>
                        <a:t>Virtual</a:t>
                      </a:r>
                      <a:r>
                        <a:rPr lang="en-US" sz="1400" b="1" baseline="0" dirty="0" smtClean="0">
                          <a:solidFill>
                            <a:schemeClr val="bg1">
                              <a:alpha val="99000"/>
                            </a:schemeClr>
                          </a:solidFill>
                        </a:rPr>
                        <a:t> Machine</a:t>
                      </a:r>
                      <a:endParaRPr lang="en-US" sz="1400" b="1" dirty="0">
                        <a:solidFill>
                          <a:schemeClr val="bg1">
                            <a:alpha val="99000"/>
                          </a:schemeClr>
                        </a:solidFill>
                      </a:endParaRPr>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4"/>
                    </a:solidFill>
                  </a:tcPr>
                </a:tc>
              </a:tr>
              <a:tr h="596940">
                <a:tc>
                  <a:txBody>
                    <a:bodyPr/>
                    <a:lstStyle/>
                    <a:p>
                      <a:r>
                        <a:rPr lang="en-US" sz="1200" b="1" dirty="0" smtClean="0">
                          <a:solidFill>
                            <a:schemeClr val="bg1">
                              <a:alpha val="99000"/>
                            </a:schemeClr>
                          </a:solidFill>
                        </a:rPr>
                        <a:t>Storage</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a:txBody>
                    <a:bodyPr/>
                    <a:lstStyle/>
                    <a:p>
                      <a:pPr marL="0" marR="0" indent="0" algn="l" defTabSz="685693" rtl="0" eaLnBrk="1" fontAlgn="auto" latinLnBrk="0" hangingPunct="1">
                        <a:lnSpc>
                          <a:spcPct val="100000"/>
                        </a:lnSpc>
                        <a:spcBef>
                          <a:spcPts val="0"/>
                        </a:spcBef>
                        <a:spcAft>
                          <a:spcPts val="0"/>
                        </a:spcAft>
                        <a:buClrTx/>
                        <a:buSzTx/>
                        <a:buFontTx/>
                        <a:buNone/>
                        <a:tabLst/>
                        <a:defRPr/>
                      </a:pPr>
                      <a:r>
                        <a:rPr lang="en-US" sz="1400" dirty="0" smtClean="0">
                          <a:solidFill>
                            <a:schemeClr val="tx1">
                              <a:alpha val="99000"/>
                            </a:schemeClr>
                          </a:solidFill>
                        </a:rPr>
                        <a:t>Non-Persistent</a:t>
                      </a:r>
                      <a:r>
                        <a:rPr lang="en-US" sz="1400" baseline="0" dirty="0" smtClean="0">
                          <a:solidFill>
                            <a:schemeClr val="tx1">
                              <a:alpha val="99000"/>
                            </a:schemeClr>
                          </a:solidFill>
                        </a:rPr>
                        <a:t> Storage</a:t>
                      </a:r>
                      <a:endParaRPr lang="en-US" sz="1400" dirty="0" smtClean="0">
                        <a:solidFill>
                          <a:schemeClr val="tx1">
                            <a:alpha val="99000"/>
                          </a:schemeClr>
                        </a:solidFill>
                      </a:endParaRPr>
                    </a:p>
                    <a:p>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dirty="0" smtClean="0">
                          <a:solidFill>
                            <a:schemeClr val="tx1">
                              <a:alpha val="99000"/>
                            </a:schemeClr>
                          </a:solidFill>
                        </a:rPr>
                        <a:t>Persistent Storage</a:t>
                      </a:r>
                    </a:p>
                    <a:p>
                      <a:r>
                        <a:rPr lang="en-US" sz="1400" dirty="0" smtClean="0">
                          <a:solidFill>
                            <a:schemeClr val="tx1">
                              <a:alpha val="99000"/>
                            </a:schemeClr>
                          </a:solidFill>
                        </a:rPr>
                        <a:t>Easily add</a:t>
                      </a:r>
                      <a:r>
                        <a:rPr lang="en-US" sz="1400" baseline="0" dirty="0" smtClean="0">
                          <a:solidFill>
                            <a:schemeClr val="tx1">
                              <a:alpha val="99000"/>
                            </a:schemeClr>
                          </a:solidFill>
                        </a:rPr>
                        <a:t> additional storage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596940">
                <a:tc>
                  <a:txBody>
                    <a:bodyPr/>
                    <a:lstStyle/>
                    <a:p>
                      <a:r>
                        <a:rPr lang="en-US" sz="1200" b="1" dirty="0" smtClean="0">
                          <a:solidFill>
                            <a:schemeClr val="bg1">
                              <a:alpha val="99000"/>
                            </a:schemeClr>
                          </a:solidFill>
                        </a:rPr>
                        <a:t>Deployment</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r>
                        <a:rPr lang="en-US" sz="1400" dirty="0" smtClean="0">
                          <a:solidFill>
                            <a:schemeClr val="tx1">
                              <a:alpha val="99000"/>
                            </a:schemeClr>
                          </a:solidFill>
                        </a:rPr>
                        <a:t>Build VHD offsite and upload to</a:t>
                      </a:r>
                      <a:r>
                        <a:rPr lang="en-US" sz="1400" baseline="0" dirty="0" smtClean="0">
                          <a:solidFill>
                            <a:schemeClr val="tx1">
                              <a:alpha val="99000"/>
                            </a:schemeClr>
                          </a:solidFill>
                        </a:rPr>
                        <a:t> storage.</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dirty="0" smtClean="0">
                          <a:solidFill>
                            <a:schemeClr val="tx1">
                              <a:alpha val="99000"/>
                            </a:schemeClr>
                          </a:solidFill>
                        </a:rPr>
                        <a:t>Build</a:t>
                      </a:r>
                      <a:r>
                        <a:rPr lang="en-US" sz="1400" baseline="0" dirty="0" smtClean="0">
                          <a:solidFill>
                            <a:schemeClr val="tx1">
                              <a:alpha val="99000"/>
                            </a:schemeClr>
                          </a:solidFill>
                        </a:rPr>
                        <a:t> VHD directly in the cloud or build the VHD offsite and upload</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388816">
                <a:tc>
                  <a:txBody>
                    <a:bodyPr/>
                    <a:lstStyle/>
                    <a:p>
                      <a:r>
                        <a:rPr lang="en-US" sz="1200" b="1" dirty="0" smtClean="0">
                          <a:solidFill>
                            <a:schemeClr val="bg1">
                              <a:alpha val="99000"/>
                            </a:schemeClr>
                          </a:solidFill>
                        </a:rPr>
                        <a:t>Networking</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2">
                        <a:lumMod val="75000"/>
                      </a:schemeClr>
                    </a:solidFill>
                  </a:tcPr>
                </a:tc>
                <a:tc>
                  <a:txBody>
                    <a:bodyPr/>
                    <a:lstStyle/>
                    <a:p>
                      <a:r>
                        <a:rPr lang="en-US" sz="1400" baseline="0" dirty="0" smtClean="0">
                          <a:solidFill>
                            <a:schemeClr val="tx1">
                              <a:alpha val="99000"/>
                            </a:schemeClr>
                          </a:solidFill>
                        </a:rPr>
                        <a:t>Internal and Input Endpoints configured through service model.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r>
                        <a:rPr lang="en-US" sz="1400" smtClean="0">
                          <a:solidFill>
                            <a:schemeClr val="tx1">
                              <a:alpha val="99000"/>
                            </a:schemeClr>
                          </a:solidFill>
                        </a:rPr>
                        <a:t>Mode</a:t>
                      </a:r>
                      <a:r>
                        <a:rPr lang="en-US" sz="1400" baseline="0" smtClean="0">
                          <a:solidFill>
                            <a:schemeClr val="tx1">
                              <a:alpha val="99000"/>
                            </a:schemeClr>
                          </a:solidFill>
                        </a:rPr>
                        <a:t>l Endpoints through the portal or through automation (PowerShell/Bash)</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r>
              <a:tr h="1013137">
                <a:tc>
                  <a:txBody>
                    <a:bodyPr/>
                    <a:lstStyle/>
                    <a:p>
                      <a:r>
                        <a:rPr lang="en-US" sz="1200" b="1" dirty="0" smtClean="0">
                          <a:solidFill>
                            <a:schemeClr val="bg1">
                              <a:alpha val="99000"/>
                            </a:schemeClr>
                          </a:solidFill>
                        </a:rPr>
                        <a:t>Primary Use</a:t>
                      </a:r>
                      <a:endParaRPr lang="en-US" sz="1200" b="1" dirty="0">
                        <a:solidFill>
                          <a:schemeClr val="bg1">
                            <a:alpha val="99000"/>
                          </a:schemeClr>
                        </a:solidFill>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2">
                        <a:lumMod val="50000"/>
                      </a:schemeClr>
                    </a:solidFill>
                  </a:tcPr>
                </a:tc>
                <a:tc>
                  <a:txBody>
                    <a:bodyPr/>
                    <a:lstStyle/>
                    <a:p>
                      <a:r>
                        <a:rPr lang="en-US" sz="1400" dirty="0" smtClean="0">
                          <a:solidFill>
                            <a:schemeClr val="tx1">
                              <a:alpha val="99000"/>
                            </a:schemeClr>
                          </a:solidFill>
                        </a:rPr>
                        <a:t>Deploying applications with long or complex installation</a:t>
                      </a:r>
                      <a:r>
                        <a:rPr lang="en-US" sz="1400" baseline="0" dirty="0" smtClean="0">
                          <a:solidFill>
                            <a:schemeClr val="tx1">
                              <a:alpha val="99000"/>
                            </a:schemeClr>
                          </a:solidFill>
                        </a:rPr>
                        <a:t> requirements into stateless </a:t>
                      </a:r>
                      <a:r>
                        <a:rPr lang="en-US" sz="1400" baseline="0" dirty="0" err="1" smtClean="0">
                          <a:solidFill>
                            <a:schemeClr val="tx1">
                              <a:alpha val="99000"/>
                            </a:schemeClr>
                          </a:solidFill>
                        </a:rPr>
                        <a:t>PaaS</a:t>
                      </a:r>
                      <a:r>
                        <a:rPr lang="en-US" sz="1400" baseline="0" dirty="0" smtClean="0">
                          <a:solidFill>
                            <a:schemeClr val="tx1">
                              <a:alpha val="99000"/>
                            </a:schemeClr>
                          </a:solidFill>
                        </a:rPr>
                        <a:t> applications</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c>
                  <a:txBody>
                    <a:bodyPr/>
                    <a:lstStyle/>
                    <a:p>
                      <a:r>
                        <a:rPr lang="en-US" sz="1400" baseline="0" dirty="0" smtClean="0">
                          <a:solidFill>
                            <a:schemeClr val="tx1">
                              <a:alpha val="99000"/>
                            </a:schemeClr>
                          </a:solidFill>
                        </a:rPr>
                        <a:t>Applications that require persistent storage to easily run in Windows Azure. </a:t>
                      </a:r>
                      <a:endParaRPr lang="en-US" sz="1400" dirty="0">
                        <a:solidFill>
                          <a:schemeClr val="tx1">
                            <a:alpha val="99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bg2"/>
                    </a:solidFill>
                  </a:tcPr>
                </a:tc>
              </a:tr>
            </a:tbl>
          </a:graphicData>
        </a:graphic>
      </p:graphicFrame>
      <p:sp>
        <p:nvSpPr>
          <p:cNvPr id="2" name="Title 1"/>
          <p:cNvSpPr>
            <a:spLocks noGrp="1"/>
          </p:cNvSpPr>
          <p:nvPr>
            <p:ph type="title"/>
          </p:nvPr>
        </p:nvSpPr>
        <p:spPr/>
        <p:txBody>
          <a:bodyPr/>
          <a:lstStyle/>
          <a:p>
            <a:r>
              <a:rPr lang="en-US" dirty="0"/>
              <a:t>Virtual Machine </a:t>
            </a:r>
            <a:r>
              <a:rPr lang="en-US" dirty="0" err="1" smtClean="0"/>
              <a:t>vs</a:t>
            </a:r>
            <a:r>
              <a:rPr lang="en-US" dirty="0" smtClean="0"/>
              <a:t> VM Role</a:t>
            </a:r>
            <a:endParaRPr lang="en-US" dirty="0"/>
          </a:p>
        </p:txBody>
      </p:sp>
    </p:spTree>
    <p:extLst>
      <p:ext uri="{BB962C8B-B14F-4D97-AF65-F5344CB8AC3E}">
        <p14:creationId xmlns:p14="http://schemas.microsoft.com/office/powerpoint/2010/main" val="2682435105"/>
      </p:ext>
    </p:extLst>
  </p:cSld>
  <p:clrMapOvr>
    <a:masterClrMapping/>
  </p:clrMapOvr>
  <p:transition>
    <p:fade/>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smtClean="0"/>
              <a:t>Demo</a:t>
            </a:r>
            <a:endParaRPr lang="en-US" dirty="0"/>
          </a:p>
        </p:txBody>
      </p:sp>
      <p:sp>
        <p:nvSpPr>
          <p:cNvPr id="5" name="Subtitle 4"/>
          <p:cNvSpPr>
            <a:spLocks noGrp="1"/>
          </p:cNvSpPr>
          <p:nvPr>
            <p:ph type="subTitle" idx="1"/>
          </p:nvPr>
        </p:nvSpPr>
        <p:spPr/>
        <p:txBody>
          <a:bodyPr/>
          <a:lstStyle/>
          <a:p>
            <a:endParaRPr lang="en-US"/>
          </a:p>
        </p:txBody>
      </p:sp>
      <p:sp>
        <p:nvSpPr>
          <p:cNvPr id="6" name="Text Placeholder 5"/>
          <p:cNvSpPr>
            <a:spLocks noGrp="1"/>
          </p:cNvSpPr>
          <p:nvPr>
            <p:ph type="body" sz="quarter" idx="10"/>
          </p:nvPr>
        </p:nvSpPr>
        <p:spPr/>
        <p:txBody>
          <a:bodyPr/>
          <a:lstStyle/>
          <a:p>
            <a:r>
              <a:rPr lang="en-US" dirty="0" smtClean="0"/>
              <a:t>Connecting Cloud Services</a:t>
            </a:r>
            <a:endParaRPr lang="en-US" dirty="0"/>
          </a:p>
        </p:txBody>
      </p:sp>
    </p:spTree>
    <p:extLst>
      <p:ext uri="{BB962C8B-B14F-4D97-AF65-F5344CB8AC3E}">
        <p14:creationId xmlns:p14="http://schemas.microsoft.com/office/powerpoint/2010/main" val="4148584918"/>
      </p:ext>
    </p:extLst>
  </p:cSld>
  <p:clrMapOvr>
    <a:masterClrMapping/>
  </p:clrMapOvr>
  <p:transition>
    <p:fade/>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0" name="Rectangle 29"/>
          <p:cNvSpPr/>
          <p:nvPr/>
        </p:nvSpPr>
        <p:spPr bwMode="auto">
          <a:xfrm>
            <a:off x="828314" y="1505626"/>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Rectangle 30"/>
          <p:cNvSpPr/>
          <p:nvPr/>
        </p:nvSpPr>
        <p:spPr bwMode="auto">
          <a:xfrm>
            <a:off x="1356892" y="1505626"/>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Support for key server applications</a:t>
            </a:r>
          </a:p>
        </p:txBody>
      </p:sp>
      <p:sp>
        <p:nvSpPr>
          <p:cNvPr id="33" name="Rectangle 32"/>
          <p:cNvSpPr/>
          <p:nvPr/>
        </p:nvSpPr>
        <p:spPr bwMode="auto">
          <a:xfrm>
            <a:off x="828314" y="2074840"/>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4" name="Rectangle 33"/>
          <p:cNvSpPr/>
          <p:nvPr/>
        </p:nvSpPr>
        <p:spPr bwMode="auto">
          <a:xfrm>
            <a:off x="1356892" y="2074840"/>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Easy storage manageability</a:t>
            </a:r>
          </a:p>
        </p:txBody>
      </p:sp>
      <p:sp>
        <p:nvSpPr>
          <p:cNvPr id="36" name="Rectangle 35"/>
          <p:cNvSpPr/>
          <p:nvPr/>
        </p:nvSpPr>
        <p:spPr bwMode="auto">
          <a:xfrm>
            <a:off x="828314" y="2644054"/>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7" name="Rectangle 36"/>
          <p:cNvSpPr/>
          <p:nvPr/>
        </p:nvSpPr>
        <p:spPr bwMode="auto">
          <a:xfrm>
            <a:off x="1356892" y="2644054"/>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High availability features</a:t>
            </a:r>
          </a:p>
        </p:txBody>
      </p:sp>
      <p:sp>
        <p:nvSpPr>
          <p:cNvPr id="41" name="Rectangle 40"/>
          <p:cNvSpPr/>
          <p:nvPr/>
        </p:nvSpPr>
        <p:spPr bwMode="auto">
          <a:xfrm>
            <a:off x="828314" y="3213268"/>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p:nvSpPr>
        <p:spPr bwMode="auto">
          <a:xfrm>
            <a:off x="1356892" y="3213268"/>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Advanced networking</a:t>
            </a:r>
          </a:p>
        </p:txBody>
      </p:sp>
      <p:sp>
        <p:nvSpPr>
          <p:cNvPr id="44" name="Rectangle 43"/>
          <p:cNvSpPr/>
          <p:nvPr/>
        </p:nvSpPr>
        <p:spPr bwMode="auto">
          <a:xfrm>
            <a:off x="828314" y="3782481"/>
            <a:ext cx="528578" cy="528578"/>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defTabSz="914099" fontAlgn="base">
              <a:spcBef>
                <a:spcPct val="0"/>
              </a:spcBef>
              <a:spcAft>
                <a:spcPct val="0"/>
              </a:spcAft>
            </a:pPr>
            <a:endParaRPr lang="en-US" sz="11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p:nvSpPr>
        <p:spPr bwMode="auto">
          <a:xfrm>
            <a:off x="1356892" y="3782481"/>
            <a:ext cx="6808151" cy="52857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91440" numCol="1" spcCol="0" rtlCol="0" fromWordArt="0" anchor="b" anchorCtr="0" forceAA="0" compatLnSpc="1">
            <a:prstTxWarp prst="textNoShape">
              <a:avLst/>
            </a:prstTxWarp>
            <a:noAutofit/>
          </a:bodyPr>
          <a:lstStyle/>
          <a:p>
            <a:pPr marL="174625" lvl="1"/>
            <a:r>
              <a:rPr lang="en-US" sz="2000" dirty="0">
                <a:solidFill>
                  <a:schemeClr val="bg1">
                    <a:alpha val="99000"/>
                  </a:schemeClr>
                </a:solidFill>
              </a:rPr>
              <a:t>Integration with compute </a:t>
            </a:r>
            <a:r>
              <a:rPr lang="en-US" sz="2000" dirty="0" err="1">
                <a:solidFill>
                  <a:schemeClr val="bg1">
                    <a:alpha val="99000"/>
                  </a:schemeClr>
                </a:solidFill>
              </a:rPr>
              <a:t>PaaS</a:t>
            </a:r>
            <a:endParaRPr lang="en-US" sz="2000" dirty="0">
              <a:solidFill>
                <a:schemeClr val="bg1">
                  <a:alpha val="99000"/>
                </a:schemeClr>
              </a:solidFill>
            </a:endParaRPr>
          </a:p>
        </p:txBody>
      </p:sp>
      <p:sp>
        <p:nvSpPr>
          <p:cNvPr id="48" name="Freeform 79"/>
          <p:cNvSpPr>
            <a:spLocks noEditPoints="1"/>
          </p:cNvSpPr>
          <p:nvPr/>
        </p:nvSpPr>
        <p:spPr bwMode="black">
          <a:xfrm>
            <a:off x="971060" y="2173319"/>
            <a:ext cx="235725" cy="3186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dirty="0"/>
          </a:p>
        </p:txBody>
      </p:sp>
      <p:sp>
        <p:nvSpPr>
          <p:cNvPr id="49" name="Freeform 73"/>
          <p:cNvSpPr>
            <a:spLocks noEditPoints="1"/>
          </p:cNvSpPr>
          <p:nvPr/>
        </p:nvSpPr>
        <p:spPr bwMode="black">
          <a:xfrm>
            <a:off x="913874" y="3309068"/>
            <a:ext cx="349066" cy="336977"/>
          </a:xfrm>
          <a:custGeom>
            <a:avLst/>
            <a:gdLst>
              <a:gd name="T0" fmla="*/ 1799 w 2278"/>
              <a:gd name="T1" fmla="*/ 879 h 2201"/>
              <a:gd name="T2" fmla="*/ 1711 w 2278"/>
              <a:gd name="T3" fmla="*/ 335 h 2201"/>
              <a:gd name="T4" fmla="*/ 1363 w 2278"/>
              <a:gd name="T5" fmla="*/ 315 h 2201"/>
              <a:gd name="T6" fmla="*/ 1068 w 2278"/>
              <a:gd name="T7" fmla="*/ 0 h 2201"/>
              <a:gd name="T8" fmla="*/ 810 w 2278"/>
              <a:gd name="T9" fmla="*/ 412 h 2201"/>
              <a:gd name="T10" fmla="*/ 408 w 2278"/>
              <a:gd name="T11" fmla="*/ 325 h 2201"/>
              <a:gd name="T12" fmla="*/ 246 w 2278"/>
              <a:gd name="T13" fmla="*/ 841 h 2201"/>
              <a:gd name="T14" fmla="*/ 0 w 2278"/>
              <a:gd name="T15" fmla="*/ 1138 h 2201"/>
              <a:gd name="T16" fmla="*/ 338 w 2278"/>
              <a:gd name="T17" fmla="*/ 1396 h 2201"/>
              <a:gd name="T18" fmla="*/ 166 w 2278"/>
              <a:gd name="T19" fmla="*/ 1885 h 2201"/>
              <a:gd name="T20" fmla="*/ 769 w 2278"/>
              <a:gd name="T21" fmla="*/ 1966 h 2201"/>
              <a:gd name="T22" fmla="*/ 1053 w 2278"/>
              <a:gd name="T23" fmla="*/ 2200 h 2201"/>
              <a:gd name="T24" fmla="*/ 1081 w 2278"/>
              <a:gd name="T25" fmla="*/ 2201 h 2201"/>
              <a:gd name="T26" fmla="*/ 1184 w 2278"/>
              <a:gd name="T27" fmla="*/ 1949 h 2201"/>
              <a:gd name="T28" fmla="*/ 1666 w 2278"/>
              <a:gd name="T29" fmla="*/ 1872 h 2201"/>
              <a:gd name="T30" fmla="*/ 1874 w 2278"/>
              <a:gd name="T31" fmla="*/ 1743 h 2201"/>
              <a:gd name="T32" fmla="*/ 2060 w 2278"/>
              <a:gd name="T33" fmla="*/ 1273 h 2201"/>
              <a:gd name="T34" fmla="*/ 1940 w 2278"/>
              <a:gd name="T35" fmla="*/ 1369 h 2201"/>
              <a:gd name="T36" fmla="*/ 1385 w 2278"/>
              <a:gd name="T37" fmla="*/ 1279 h 2201"/>
              <a:gd name="T38" fmla="*/ 1837 w 2278"/>
              <a:gd name="T39" fmla="*/ 1733 h 2201"/>
              <a:gd name="T40" fmla="*/ 1302 w 2278"/>
              <a:gd name="T41" fmla="*/ 1393 h 2201"/>
              <a:gd name="T42" fmla="*/ 1433 w 2278"/>
              <a:gd name="T43" fmla="*/ 1759 h 2201"/>
              <a:gd name="T44" fmla="*/ 1193 w 2278"/>
              <a:gd name="T45" fmla="*/ 1461 h 2201"/>
              <a:gd name="T46" fmla="*/ 1156 w 2278"/>
              <a:gd name="T47" fmla="*/ 1924 h 2201"/>
              <a:gd name="T48" fmla="*/ 1053 w 2278"/>
              <a:gd name="T49" fmla="*/ 1484 h 2201"/>
              <a:gd name="T50" fmla="*/ 878 w 2278"/>
              <a:gd name="T51" fmla="*/ 1857 h 2201"/>
              <a:gd name="T52" fmla="*/ 804 w 2278"/>
              <a:gd name="T53" fmla="*/ 1753 h 2201"/>
              <a:gd name="T54" fmla="*/ 438 w 2278"/>
              <a:gd name="T55" fmla="*/ 1789 h 2201"/>
              <a:gd name="T56" fmla="*/ 369 w 2278"/>
              <a:gd name="T57" fmla="*/ 1741 h 2201"/>
              <a:gd name="T58" fmla="*/ 551 w 2278"/>
              <a:gd name="T59" fmla="*/ 1362 h 2201"/>
              <a:gd name="T60" fmla="*/ 447 w 2278"/>
              <a:gd name="T61" fmla="*/ 1287 h 2201"/>
              <a:gd name="T62" fmla="*/ 723 w 2278"/>
              <a:gd name="T63" fmla="*/ 1153 h 2201"/>
              <a:gd name="T64" fmla="*/ 253 w 2278"/>
              <a:gd name="T65" fmla="*/ 1023 h 2201"/>
              <a:gd name="T66" fmla="*/ 745 w 2278"/>
              <a:gd name="T67" fmla="*/ 1014 h 2201"/>
              <a:gd name="T68" fmla="*/ 386 w 2278"/>
              <a:gd name="T69" fmla="*/ 736 h 2201"/>
              <a:gd name="T70" fmla="*/ 813 w 2278"/>
              <a:gd name="T71" fmla="*/ 904 h 2201"/>
              <a:gd name="T72" fmla="*/ 701 w 2278"/>
              <a:gd name="T73" fmla="*/ 530 h 2201"/>
              <a:gd name="T74" fmla="*/ 944 w 2278"/>
              <a:gd name="T75" fmla="*/ 815 h 2201"/>
              <a:gd name="T76" fmla="*/ 996 w 2278"/>
              <a:gd name="T77" fmla="*/ 287 h 2201"/>
              <a:gd name="T78" fmla="*/ 1083 w 2278"/>
              <a:gd name="T79" fmla="*/ 792 h 2201"/>
              <a:gd name="T80" fmla="*/ 1253 w 2278"/>
              <a:gd name="T81" fmla="*/ 424 h 2201"/>
              <a:gd name="T82" fmla="*/ 1331 w 2278"/>
              <a:gd name="T83" fmla="*/ 529 h 2201"/>
              <a:gd name="T84" fmla="*/ 1558 w 2278"/>
              <a:gd name="T85" fmla="*/ 488 h 2201"/>
              <a:gd name="T86" fmla="*/ 1618 w 2278"/>
              <a:gd name="T87" fmla="*/ 610 h 2201"/>
              <a:gd name="T88" fmla="*/ 1586 w 2278"/>
              <a:gd name="T89" fmla="*/ 914 h 2201"/>
              <a:gd name="T90" fmla="*/ 1690 w 2278"/>
              <a:gd name="T91" fmla="*/ 989 h 2201"/>
              <a:gd name="T92" fmla="*/ 1414 w 2278"/>
              <a:gd name="T93" fmla="*/ 1123 h 2201"/>
              <a:gd name="T94" fmla="*/ 2028 w 2278"/>
              <a:gd name="T95" fmla="*/ 1253 h 2201"/>
              <a:gd name="T96" fmla="*/ 1292 w 2278"/>
              <a:gd name="T97" fmla="*/ 936 h 2201"/>
              <a:gd name="T98" fmla="*/ 1083 w 2278"/>
              <a:gd name="T99" fmla="*/ 837 h 2201"/>
              <a:gd name="T100" fmla="*/ 945 w 2278"/>
              <a:gd name="T101" fmla="*/ 863 h 2201"/>
              <a:gd name="T102" fmla="*/ 787 w 2278"/>
              <a:gd name="T103" fmla="*/ 1031 h 2201"/>
              <a:gd name="T104" fmla="*/ 787 w 2278"/>
              <a:gd name="T105" fmla="*/ 1245 h 2201"/>
              <a:gd name="T106" fmla="*/ 945 w 2278"/>
              <a:gd name="T107" fmla="*/ 1412 h 2201"/>
              <a:gd name="T108" fmla="*/ 1083 w 2278"/>
              <a:gd name="T109" fmla="*/ 1439 h 2201"/>
              <a:gd name="T110" fmla="*/ 1292 w 2278"/>
              <a:gd name="T111" fmla="*/ 1340 h 2201"/>
              <a:gd name="T112" fmla="*/ 1370 w 2278"/>
              <a:gd name="T113" fmla="*/ 1138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278" h="2201">
                <a:moveTo>
                  <a:pt x="2125" y="983"/>
                </a:moveTo>
                <a:cubicBezTo>
                  <a:pt x="2074" y="983"/>
                  <a:pt x="2030" y="1007"/>
                  <a:pt x="2002" y="1045"/>
                </a:cubicBezTo>
                <a:cubicBezTo>
                  <a:pt x="1787" y="929"/>
                  <a:pt x="1787" y="929"/>
                  <a:pt x="1787" y="929"/>
                </a:cubicBezTo>
                <a:cubicBezTo>
                  <a:pt x="1795" y="914"/>
                  <a:pt x="1799" y="897"/>
                  <a:pt x="1799" y="879"/>
                </a:cubicBezTo>
                <a:cubicBezTo>
                  <a:pt x="1799" y="828"/>
                  <a:pt x="1764" y="785"/>
                  <a:pt x="1715" y="773"/>
                </a:cubicBezTo>
                <a:cubicBezTo>
                  <a:pt x="1729" y="640"/>
                  <a:pt x="1729" y="640"/>
                  <a:pt x="1729" y="640"/>
                </a:cubicBezTo>
                <a:cubicBezTo>
                  <a:pt x="1805" y="630"/>
                  <a:pt x="1863" y="566"/>
                  <a:pt x="1863" y="488"/>
                </a:cubicBezTo>
                <a:cubicBezTo>
                  <a:pt x="1863" y="404"/>
                  <a:pt x="1795" y="335"/>
                  <a:pt x="1711" y="335"/>
                </a:cubicBezTo>
                <a:cubicBezTo>
                  <a:pt x="1645" y="335"/>
                  <a:pt x="1589" y="377"/>
                  <a:pt x="1567" y="435"/>
                </a:cubicBezTo>
                <a:cubicBezTo>
                  <a:pt x="1472" y="427"/>
                  <a:pt x="1472" y="427"/>
                  <a:pt x="1472" y="427"/>
                </a:cubicBezTo>
                <a:cubicBezTo>
                  <a:pt x="1472" y="426"/>
                  <a:pt x="1472" y="425"/>
                  <a:pt x="1472" y="424"/>
                </a:cubicBezTo>
                <a:cubicBezTo>
                  <a:pt x="1472" y="364"/>
                  <a:pt x="1423" y="315"/>
                  <a:pt x="1363" y="315"/>
                </a:cubicBezTo>
                <a:cubicBezTo>
                  <a:pt x="1334" y="315"/>
                  <a:pt x="1309" y="326"/>
                  <a:pt x="1289" y="343"/>
                </a:cubicBezTo>
                <a:cubicBezTo>
                  <a:pt x="1187" y="250"/>
                  <a:pt x="1187" y="250"/>
                  <a:pt x="1187" y="250"/>
                </a:cubicBezTo>
                <a:cubicBezTo>
                  <a:pt x="1208" y="223"/>
                  <a:pt x="1221" y="190"/>
                  <a:pt x="1221" y="153"/>
                </a:cubicBezTo>
                <a:cubicBezTo>
                  <a:pt x="1221" y="69"/>
                  <a:pt x="1153" y="0"/>
                  <a:pt x="1068" y="0"/>
                </a:cubicBezTo>
                <a:cubicBezTo>
                  <a:pt x="984" y="0"/>
                  <a:pt x="916" y="69"/>
                  <a:pt x="916" y="153"/>
                </a:cubicBezTo>
                <a:cubicBezTo>
                  <a:pt x="916" y="197"/>
                  <a:pt x="935" y="237"/>
                  <a:pt x="965" y="265"/>
                </a:cubicBezTo>
                <a:cubicBezTo>
                  <a:pt x="856" y="422"/>
                  <a:pt x="856" y="422"/>
                  <a:pt x="856" y="422"/>
                </a:cubicBezTo>
                <a:cubicBezTo>
                  <a:pt x="842" y="416"/>
                  <a:pt x="827" y="412"/>
                  <a:pt x="810" y="412"/>
                </a:cubicBezTo>
                <a:cubicBezTo>
                  <a:pt x="760" y="412"/>
                  <a:pt x="717" y="446"/>
                  <a:pt x="705" y="493"/>
                </a:cubicBezTo>
                <a:cubicBezTo>
                  <a:pt x="561" y="480"/>
                  <a:pt x="561" y="480"/>
                  <a:pt x="561" y="480"/>
                </a:cubicBezTo>
                <a:cubicBezTo>
                  <a:pt x="561" y="480"/>
                  <a:pt x="561" y="479"/>
                  <a:pt x="561" y="478"/>
                </a:cubicBezTo>
                <a:cubicBezTo>
                  <a:pt x="561" y="394"/>
                  <a:pt x="493" y="325"/>
                  <a:pt x="408" y="325"/>
                </a:cubicBezTo>
                <a:cubicBezTo>
                  <a:pt x="324" y="325"/>
                  <a:pt x="256" y="394"/>
                  <a:pt x="256" y="478"/>
                </a:cubicBezTo>
                <a:cubicBezTo>
                  <a:pt x="256" y="546"/>
                  <a:pt x="300" y="603"/>
                  <a:pt x="362" y="623"/>
                </a:cubicBezTo>
                <a:cubicBezTo>
                  <a:pt x="348" y="732"/>
                  <a:pt x="348" y="732"/>
                  <a:pt x="348" y="732"/>
                </a:cubicBezTo>
                <a:cubicBezTo>
                  <a:pt x="291" y="736"/>
                  <a:pt x="246" y="783"/>
                  <a:pt x="246" y="841"/>
                </a:cubicBezTo>
                <a:cubicBezTo>
                  <a:pt x="246" y="873"/>
                  <a:pt x="259" y="901"/>
                  <a:pt x="281" y="921"/>
                </a:cubicBezTo>
                <a:cubicBezTo>
                  <a:pt x="221" y="1002"/>
                  <a:pt x="221" y="1002"/>
                  <a:pt x="221" y="1002"/>
                </a:cubicBezTo>
                <a:cubicBezTo>
                  <a:pt x="201" y="991"/>
                  <a:pt x="177" y="985"/>
                  <a:pt x="153" y="985"/>
                </a:cubicBezTo>
                <a:cubicBezTo>
                  <a:pt x="68" y="985"/>
                  <a:pt x="0" y="1054"/>
                  <a:pt x="0" y="1138"/>
                </a:cubicBezTo>
                <a:cubicBezTo>
                  <a:pt x="0" y="1222"/>
                  <a:pt x="68" y="1291"/>
                  <a:pt x="153" y="1291"/>
                </a:cubicBezTo>
                <a:cubicBezTo>
                  <a:pt x="190" y="1291"/>
                  <a:pt x="225" y="1277"/>
                  <a:pt x="251" y="1254"/>
                </a:cubicBezTo>
                <a:cubicBezTo>
                  <a:pt x="354" y="1339"/>
                  <a:pt x="354" y="1339"/>
                  <a:pt x="354" y="1339"/>
                </a:cubicBezTo>
                <a:cubicBezTo>
                  <a:pt x="344" y="1356"/>
                  <a:pt x="338" y="1375"/>
                  <a:pt x="338" y="1396"/>
                </a:cubicBezTo>
                <a:cubicBezTo>
                  <a:pt x="338" y="1436"/>
                  <a:pt x="359" y="1471"/>
                  <a:pt x="392" y="1490"/>
                </a:cubicBezTo>
                <a:cubicBezTo>
                  <a:pt x="332" y="1733"/>
                  <a:pt x="332" y="1733"/>
                  <a:pt x="332" y="1733"/>
                </a:cubicBezTo>
                <a:cubicBezTo>
                  <a:pt x="328" y="1732"/>
                  <a:pt x="323" y="1732"/>
                  <a:pt x="319" y="1732"/>
                </a:cubicBezTo>
                <a:cubicBezTo>
                  <a:pt x="235" y="1732"/>
                  <a:pt x="166" y="1800"/>
                  <a:pt x="166" y="1885"/>
                </a:cubicBezTo>
                <a:cubicBezTo>
                  <a:pt x="166" y="1969"/>
                  <a:pt x="235" y="2038"/>
                  <a:pt x="319" y="2038"/>
                </a:cubicBezTo>
                <a:cubicBezTo>
                  <a:pt x="399" y="2038"/>
                  <a:pt x="464" y="1977"/>
                  <a:pt x="471" y="1899"/>
                </a:cubicBezTo>
                <a:cubicBezTo>
                  <a:pt x="664" y="1884"/>
                  <a:pt x="664" y="1884"/>
                  <a:pt x="664" y="1884"/>
                </a:cubicBezTo>
                <a:cubicBezTo>
                  <a:pt x="676" y="1931"/>
                  <a:pt x="718" y="1966"/>
                  <a:pt x="769" y="1966"/>
                </a:cubicBezTo>
                <a:cubicBezTo>
                  <a:pt x="802" y="1966"/>
                  <a:pt x="832" y="1951"/>
                  <a:pt x="852" y="1928"/>
                </a:cubicBezTo>
                <a:cubicBezTo>
                  <a:pt x="931" y="1982"/>
                  <a:pt x="931" y="1982"/>
                  <a:pt x="931" y="1982"/>
                </a:cubicBezTo>
                <a:cubicBezTo>
                  <a:pt x="921" y="2002"/>
                  <a:pt x="916" y="2024"/>
                  <a:pt x="916" y="2049"/>
                </a:cubicBezTo>
                <a:cubicBezTo>
                  <a:pt x="916" y="2128"/>
                  <a:pt x="976" y="2193"/>
                  <a:pt x="1053" y="2200"/>
                </a:cubicBezTo>
                <a:cubicBezTo>
                  <a:pt x="1053" y="2201"/>
                  <a:pt x="1053" y="2201"/>
                  <a:pt x="1053" y="2201"/>
                </a:cubicBezTo>
                <a:cubicBezTo>
                  <a:pt x="1056" y="2201"/>
                  <a:pt x="1056" y="2201"/>
                  <a:pt x="1056" y="2201"/>
                </a:cubicBezTo>
                <a:cubicBezTo>
                  <a:pt x="1060" y="2201"/>
                  <a:pt x="1064" y="2201"/>
                  <a:pt x="1068" y="2201"/>
                </a:cubicBezTo>
                <a:cubicBezTo>
                  <a:pt x="1073" y="2201"/>
                  <a:pt x="1077" y="2201"/>
                  <a:pt x="1081" y="2201"/>
                </a:cubicBezTo>
                <a:cubicBezTo>
                  <a:pt x="1083" y="2201"/>
                  <a:pt x="1083" y="2201"/>
                  <a:pt x="1083" y="2201"/>
                </a:cubicBezTo>
                <a:cubicBezTo>
                  <a:pt x="1083" y="2201"/>
                  <a:pt x="1083" y="2201"/>
                  <a:pt x="1083" y="2201"/>
                </a:cubicBezTo>
                <a:cubicBezTo>
                  <a:pt x="1161" y="2193"/>
                  <a:pt x="1221" y="2128"/>
                  <a:pt x="1221" y="2049"/>
                </a:cubicBezTo>
                <a:cubicBezTo>
                  <a:pt x="1221" y="2011"/>
                  <a:pt x="1207" y="1976"/>
                  <a:pt x="1184" y="1949"/>
                </a:cubicBezTo>
                <a:cubicBezTo>
                  <a:pt x="1268" y="1853"/>
                  <a:pt x="1268" y="1853"/>
                  <a:pt x="1268" y="1853"/>
                </a:cubicBezTo>
                <a:cubicBezTo>
                  <a:pt x="1285" y="1863"/>
                  <a:pt x="1304" y="1869"/>
                  <a:pt x="1324" y="1869"/>
                </a:cubicBezTo>
                <a:cubicBezTo>
                  <a:pt x="1364" y="1869"/>
                  <a:pt x="1399" y="1847"/>
                  <a:pt x="1418" y="1815"/>
                </a:cubicBezTo>
                <a:cubicBezTo>
                  <a:pt x="1666" y="1872"/>
                  <a:pt x="1666" y="1872"/>
                  <a:pt x="1666" y="1872"/>
                </a:cubicBezTo>
                <a:cubicBezTo>
                  <a:pt x="1665" y="1876"/>
                  <a:pt x="1665" y="1880"/>
                  <a:pt x="1665" y="1885"/>
                </a:cubicBezTo>
                <a:cubicBezTo>
                  <a:pt x="1665" y="1969"/>
                  <a:pt x="1734" y="2038"/>
                  <a:pt x="1818" y="2038"/>
                </a:cubicBezTo>
                <a:cubicBezTo>
                  <a:pt x="1902" y="2038"/>
                  <a:pt x="1971" y="1969"/>
                  <a:pt x="1971" y="1885"/>
                </a:cubicBezTo>
                <a:cubicBezTo>
                  <a:pt x="1971" y="1820"/>
                  <a:pt x="1931" y="1765"/>
                  <a:pt x="1874" y="1743"/>
                </a:cubicBezTo>
                <a:cubicBezTo>
                  <a:pt x="1893" y="1572"/>
                  <a:pt x="1893" y="1572"/>
                  <a:pt x="1893" y="1572"/>
                </a:cubicBezTo>
                <a:cubicBezTo>
                  <a:pt x="1949" y="1567"/>
                  <a:pt x="1994" y="1520"/>
                  <a:pt x="1994" y="1463"/>
                </a:cubicBezTo>
                <a:cubicBezTo>
                  <a:pt x="1994" y="1436"/>
                  <a:pt x="1984" y="1412"/>
                  <a:pt x="1969" y="1393"/>
                </a:cubicBezTo>
                <a:cubicBezTo>
                  <a:pt x="2060" y="1273"/>
                  <a:pt x="2060" y="1273"/>
                  <a:pt x="2060" y="1273"/>
                </a:cubicBezTo>
                <a:cubicBezTo>
                  <a:pt x="2080" y="1283"/>
                  <a:pt x="2102" y="1288"/>
                  <a:pt x="2125" y="1288"/>
                </a:cubicBezTo>
                <a:cubicBezTo>
                  <a:pt x="2209" y="1288"/>
                  <a:pt x="2278" y="1220"/>
                  <a:pt x="2278" y="1135"/>
                </a:cubicBezTo>
                <a:cubicBezTo>
                  <a:pt x="2278" y="1051"/>
                  <a:pt x="2209" y="983"/>
                  <a:pt x="2125" y="983"/>
                </a:cubicBezTo>
                <a:close/>
                <a:moveTo>
                  <a:pt x="1940" y="1369"/>
                </a:moveTo>
                <a:cubicBezTo>
                  <a:pt x="1924" y="1359"/>
                  <a:pt x="1905" y="1353"/>
                  <a:pt x="1884" y="1353"/>
                </a:cubicBezTo>
                <a:cubicBezTo>
                  <a:pt x="1838" y="1353"/>
                  <a:pt x="1798" y="1383"/>
                  <a:pt x="1782" y="1424"/>
                </a:cubicBezTo>
                <a:cubicBezTo>
                  <a:pt x="1392" y="1262"/>
                  <a:pt x="1392" y="1262"/>
                  <a:pt x="1392" y="1262"/>
                </a:cubicBezTo>
                <a:cubicBezTo>
                  <a:pt x="1390" y="1268"/>
                  <a:pt x="1387" y="1273"/>
                  <a:pt x="1385" y="1279"/>
                </a:cubicBezTo>
                <a:cubicBezTo>
                  <a:pt x="1777" y="1441"/>
                  <a:pt x="1777" y="1441"/>
                  <a:pt x="1777" y="1441"/>
                </a:cubicBezTo>
                <a:cubicBezTo>
                  <a:pt x="1776" y="1448"/>
                  <a:pt x="1775" y="1455"/>
                  <a:pt x="1775" y="1463"/>
                </a:cubicBezTo>
                <a:cubicBezTo>
                  <a:pt x="1775" y="1513"/>
                  <a:pt x="1809" y="1555"/>
                  <a:pt x="1855" y="1568"/>
                </a:cubicBezTo>
                <a:cubicBezTo>
                  <a:pt x="1837" y="1733"/>
                  <a:pt x="1837" y="1733"/>
                  <a:pt x="1837" y="1733"/>
                </a:cubicBezTo>
                <a:cubicBezTo>
                  <a:pt x="1831" y="1733"/>
                  <a:pt x="1825" y="1732"/>
                  <a:pt x="1818" y="1732"/>
                </a:cubicBezTo>
                <a:cubicBezTo>
                  <a:pt x="1781" y="1732"/>
                  <a:pt x="1746" y="1746"/>
                  <a:pt x="1720" y="1768"/>
                </a:cubicBezTo>
                <a:cubicBezTo>
                  <a:pt x="1324" y="1372"/>
                  <a:pt x="1324" y="1372"/>
                  <a:pt x="1324" y="1372"/>
                </a:cubicBezTo>
                <a:cubicBezTo>
                  <a:pt x="1317" y="1379"/>
                  <a:pt x="1310" y="1386"/>
                  <a:pt x="1302" y="1393"/>
                </a:cubicBezTo>
                <a:cubicBezTo>
                  <a:pt x="1699" y="1789"/>
                  <a:pt x="1699" y="1789"/>
                  <a:pt x="1699" y="1789"/>
                </a:cubicBezTo>
                <a:cubicBezTo>
                  <a:pt x="1688" y="1803"/>
                  <a:pt x="1679" y="1818"/>
                  <a:pt x="1674" y="1835"/>
                </a:cubicBezTo>
                <a:cubicBezTo>
                  <a:pt x="1432" y="1779"/>
                  <a:pt x="1432" y="1779"/>
                  <a:pt x="1432" y="1779"/>
                </a:cubicBezTo>
                <a:cubicBezTo>
                  <a:pt x="1433" y="1773"/>
                  <a:pt x="1433" y="1766"/>
                  <a:pt x="1433" y="1759"/>
                </a:cubicBezTo>
                <a:cubicBezTo>
                  <a:pt x="1433" y="1699"/>
                  <a:pt x="1385" y="1650"/>
                  <a:pt x="1324" y="1650"/>
                </a:cubicBezTo>
                <a:cubicBezTo>
                  <a:pt x="1313" y="1650"/>
                  <a:pt x="1302" y="1652"/>
                  <a:pt x="1292" y="1655"/>
                </a:cubicBezTo>
                <a:cubicBezTo>
                  <a:pt x="1209" y="1454"/>
                  <a:pt x="1209" y="1454"/>
                  <a:pt x="1209" y="1454"/>
                </a:cubicBezTo>
                <a:cubicBezTo>
                  <a:pt x="1204" y="1457"/>
                  <a:pt x="1198" y="1459"/>
                  <a:pt x="1193" y="1461"/>
                </a:cubicBezTo>
                <a:cubicBezTo>
                  <a:pt x="1276" y="1662"/>
                  <a:pt x="1276" y="1662"/>
                  <a:pt x="1276" y="1662"/>
                </a:cubicBezTo>
                <a:cubicBezTo>
                  <a:pt x="1240" y="1680"/>
                  <a:pt x="1215" y="1717"/>
                  <a:pt x="1215" y="1759"/>
                </a:cubicBezTo>
                <a:cubicBezTo>
                  <a:pt x="1215" y="1786"/>
                  <a:pt x="1224" y="1810"/>
                  <a:pt x="1240" y="1828"/>
                </a:cubicBezTo>
                <a:cubicBezTo>
                  <a:pt x="1156" y="1924"/>
                  <a:pt x="1156" y="1924"/>
                  <a:pt x="1156" y="1924"/>
                </a:cubicBezTo>
                <a:cubicBezTo>
                  <a:pt x="1135" y="1909"/>
                  <a:pt x="1110" y="1899"/>
                  <a:pt x="1083" y="1897"/>
                </a:cubicBezTo>
                <a:cubicBezTo>
                  <a:pt x="1083" y="1484"/>
                  <a:pt x="1083" y="1484"/>
                  <a:pt x="1083" y="1484"/>
                </a:cubicBezTo>
                <a:cubicBezTo>
                  <a:pt x="1078" y="1484"/>
                  <a:pt x="1073" y="1484"/>
                  <a:pt x="1068" y="1484"/>
                </a:cubicBezTo>
                <a:cubicBezTo>
                  <a:pt x="1063" y="1484"/>
                  <a:pt x="1058" y="1484"/>
                  <a:pt x="1053" y="1484"/>
                </a:cubicBezTo>
                <a:cubicBezTo>
                  <a:pt x="1053" y="1897"/>
                  <a:pt x="1053" y="1897"/>
                  <a:pt x="1053" y="1897"/>
                </a:cubicBezTo>
                <a:cubicBezTo>
                  <a:pt x="1013" y="1901"/>
                  <a:pt x="977" y="1920"/>
                  <a:pt x="952" y="1950"/>
                </a:cubicBezTo>
                <a:cubicBezTo>
                  <a:pt x="871" y="1895"/>
                  <a:pt x="871" y="1895"/>
                  <a:pt x="871" y="1895"/>
                </a:cubicBezTo>
                <a:cubicBezTo>
                  <a:pt x="876" y="1883"/>
                  <a:pt x="878" y="1870"/>
                  <a:pt x="878" y="1857"/>
                </a:cubicBezTo>
                <a:cubicBezTo>
                  <a:pt x="878" y="1815"/>
                  <a:pt x="855" y="1779"/>
                  <a:pt x="820" y="1760"/>
                </a:cubicBezTo>
                <a:cubicBezTo>
                  <a:pt x="944" y="1461"/>
                  <a:pt x="944" y="1461"/>
                  <a:pt x="944" y="1461"/>
                </a:cubicBezTo>
                <a:cubicBezTo>
                  <a:pt x="939" y="1459"/>
                  <a:pt x="933" y="1457"/>
                  <a:pt x="928" y="1454"/>
                </a:cubicBezTo>
                <a:cubicBezTo>
                  <a:pt x="804" y="1753"/>
                  <a:pt x="804" y="1753"/>
                  <a:pt x="804" y="1753"/>
                </a:cubicBezTo>
                <a:cubicBezTo>
                  <a:pt x="793" y="1749"/>
                  <a:pt x="781" y="1747"/>
                  <a:pt x="769" y="1747"/>
                </a:cubicBezTo>
                <a:cubicBezTo>
                  <a:pt x="712" y="1747"/>
                  <a:pt x="666" y="1791"/>
                  <a:pt x="660" y="1846"/>
                </a:cubicBezTo>
                <a:cubicBezTo>
                  <a:pt x="470" y="1861"/>
                  <a:pt x="470" y="1861"/>
                  <a:pt x="470" y="1861"/>
                </a:cubicBezTo>
                <a:cubicBezTo>
                  <a:pt x="466" y="1834"/>
                  <a:pt x="454" y="1810"/>
                  <a:pt x="438" y="1789"/>
                </a:cubicBezTo>
                <a:cubicBezTo>
                  <a:pt x="835" y="1393"/>
                  <a:pt x="835" y="1393"/>
                  <a:pt x="835" y="1393"/>
                </a:cubicBezTo>
                <a:cubicBezTo>
                  <a:pt x="827" y="1386"/>
                  <a:pt x="820" y="1379"/>
                  <a:pt x="813" y="1372"/>
                </a:cubicBezTo>
                <a:cubicBezTo>
                  <a:pt x="417" y="1768"/>
                  <a:pt x="417" y="1768"/>
                  <a:pt x="417" y="1768"/>
                </a:cubicBezTo>
                <a:cubicBezTo>
                  <a:pt x="403" y="1756"/>
                  <a:pt x="387" y="1747"/>
                  <a:pt x="369" y="1741"/>
                </a:cubicBezTo>
                <a:cubicBezTo>
                  <a:pt x="428" y="1504"/>
                  <a:pt x="428" y="1504"/>
                  <a:pt x="428" y="1504"/>
                </a:cubicBezTo>
                <a:cubicBezTo>
                  <a:pt x="434" y="1505"/>
                  <a:pt x="440" y="1505"/>
                  <a:pt x="447" y="1505"/>
                </a:cubicBezTo>
                <a:cubicBezTo>
                  <a:pt x="507" y="1505"/>
                  <a:pt x="556" y="1457"/>
                  <a:pt x="556" y="1396"/>
                </a:cubicBezTo>
                <a:cubicBezTo>
                  <a:pt x="556" y="1384"/>
                  <a:pt x="554" y="1373"/>
                  <a:pt x="551" y="1362"/>
                </a:cubicBezTo>
                <a:cubicBezTo>
                  <a:pt x="752" y="1279"/>
                  <a:pt x="752" y="1279"/>
                  <a:pt x="752" y="1279"/>
                </a:cubicBezTo>
                <a:cubicBezTo>
                  <a:pt x="750" y="1273"/>
                  <a:pt x="747" y="1268"/>
                  <a:pt x="745" y="1262"/>
                </a:cubicBezTo>
                <a:cubicBezTo>
                  <a:pt x="544" y="1345"/>
                  <a:pt x="544" y="1345"/>
                  <a:pt x="544" y="1345"/>
                </a:cubicBezTo>
                <a:cubicBezTo>
                  <a:pt x="525" y="1311"/>
                  <a:pt x="489" y="1287"/>
                  <a:pt x="447" y="1287"/>
                </a:cubicBezTo>
                <a:cubicBezTo>
                  <a:pt x="421" y="1287"/>
                  <a:pt x="397" y="1296"/>
                  <a:pt x="379" y="1311"/>
                </a:cubicBezTo>
                <a:cubicBezTo>
                  <a:pt x="277" y="1226"/>
                  <a:pt x="277" y="1226"/>
                  <a:pt x="277" y="1226"/>
                </a:cubicBezTo>
                <a:cubicBezTo>
                  <a:pt x="292" y="1205"/>
                  <a:pt x="302" y="1180"/>
                  <a:pt x="305" y="1153"/>
                </a:cubicBezTo>
                <a:cubicBezTo>
                  <a:pt x="723" y="1153"/>
                  <a:pt x="723" y="1153"/>
                  <a:pt x="723" y="1153"/>
                </a:cubicBezTo>
                <a:cubicBezTo>
                  <a:pt x="722" y="1148"/>
                  <a:pt x="722" y="1143"/>
                  <a:pt x="722" y="1138"/>
                </a:cubicBezTo>
                <a:cubicBezTo>
                  <a:pt x="722" y="1133"/>
                  <a:pt x="722" y="1128"/>
                  <a:pt x="723" y="1123"/>
                </a:cubicBezTo>
                <a:cubicBezTo>
                  <a:pt x="305" y="1123"/>
                  <a:pt x="305" y="1123"/>
                  <a:pt x="305" y="1123"/>
                </a:cubicBezTo>
                <a:cubicBezTo>
                  <a:pt x="301" y="1083"/>
                  <a:pt x="281" y="1048"/>
                  <a:pt x="253" y="1023"/>
                </a:cubicBezTo>
                <a:cubicBezTo>
                  <a:pt x="312" y="942"/>
                  <a:pt x="312" y="942"/>
                  <a:pt x="312" y="942"/>
                </a:cubicBezTo>
                <a:cubicBezTo>
                  <a:pt x="325" y="947"/>
                  <a:pt x="340" y="950"/>
                  <a:pt x="355" y="950"/>
                </a:cubicBezTo>
                <a:cubicBezTo>
                  <a:pt x="397" y="950"/>
                  <a:pt x="433" y="927"/>
                  <a:pt x="451" y="892"/>
                </a:cubicBezTo>
                <a:cubicBezTo>
                  <a:pt x="745" y="1014"/>
                  <a:pt x="745" y="1014"/>
                  <a:pt x="745" y="1014"/>
                </a:cubicBezTo>
                <a:cubicBezTo>
                  <a:pt x="747" y="1008"/>
                  <a:pt x="750" y="1003"/>
                  <a:pt x="752" y="997"/>
                </a:cubicBezTo>
                <a:cubicBezTo>
                  <a:pt x="458" y="875"/>
                  <a:pt x="458" y="875"/>
                  <a:pt x="458" y="875"/>
                </a:cubicBezTo>
                <a:cubicBezTo>
                  <a:pt x="462" y="865"/>
                  <a:pt x="464" y="853"/>
                  <a:pt x="464" y="841"/>
                </a:cubicBezTo>
                <a:cubicBezTo>
                  <a:pt x="464" y="792"/>
                  <a:pt x="431" y="750"/>
                  <a:pt x="386" y="736"/>
                </a:cubicBezTo>
                <a:cubicBezTo>
                  <a:pt x="399" y="630"/>
                  <a:pt x="399" y="630"/>
                  <a:pt x="399" y="630"/>
                </a:cubicBezTo>
                <a:cubicBezTo>
                  <a:pt x="402" y="630"/>
                  <a:pt x="405" y="631"/>
                  <a:pt x="408" y="631"/>
                </a:cubicBezTo>
                <a:cubicBezTo>
                  <a:pt x="445" y="631"/>
                  <a:pt x="479" y="618"/>
                  <a:pt x="505" y="596"/>
                </a:cubicBezTo>
                <a:cubicBezTo>
                  <a:pt x="813" y="904"/>
                  <a:pt x="813" y="904"/>
                  <a:pt x="813" y="904"/>
                </a:cubicBezTo>
                <a:cubicBezTo>
                  <a:pt x="820" y="897"/>
                  <a:pt x="827" y="889"/>
                  <a:pt x="835" y="883"/>
                </a:cubicBezTo>
                <a:cubicBezTo>
                  <a:pt x="527" y="575"/>
                  <a:pt x="527" y="575"/>
                  <a:pt x="527" y="575"/>
                </a:cubicBezTo>
                <a:cubicBezTo>
                  <a:pt x="540" y="558"/>
                  <a:pt x="550" y="539"/>
                  <a:pt x="556" y="518"/>
                </a:cubicBezTo>
                <a:cubicBezTo>
                  <a:pt x="701" y="530"/>
                  <a:pt x="701" y="530"/>
                  <a:pt x="701" y="530"/>
                </a:cubicBezTo>
                <a:cubicBezTo>
                  <a:pt x="706" y="587"/>
                  <a:pt x="753" y="631"/>
                  <a:pt x="810" y="631"/>
                </a:cubicBezTo>
                <a:cubicBezTo>
                  <a:pt x="823" y="631"/>
                  <a:pt x="835" y="628"/>
                  <a:pt x="846" y="624"/>
                </a:cubicBezTo>
                <a:cubicBezTo>
                  <a:pt x="928" y="822"/>
                  <a:pt x="928" y="822"/>
                  <a:pt x="928" y="822"/>
                </a:cubicBezTo>
                <a:cubicBezTo>
                  <a:pt x="933" y="819"/>
                  <a:pt x="939" y="817"/>
                  <a:pt x="944" y="815"/>
                </a:cubicBezTo>
                <a:cubicBezTo>
                  <a:pt x="863" y="617"/>
                  <a:pt x="863" y="617"/>
                  <a:pt x="863" y="617"/>
                </a:cubicBezTo>
                <a:cubicBezTo>
                  <a:pt x="896" y="599"/>
                  <a:pt x="919" y="563"/>
                  <a:pt x="919" y="521"/>
                </a:cubicBezTo>
                <a:cubicBezTo>
                  <a:pt x="919" y="491"/>
                  <a:pt x="907" y="464"/>
                  <a:pt x="887" y="444"/>
                </a:cubicBezTo>
                <a:cubicBezTo>
                  <a:pt x="996" y="287"/>
                  <a:pt x="996" y="287"/>
                  <a:pt x="996" y="287"/>
                </a:cubicBezTo>
                <a:cubicBezTo>
                  <a:pt x="1013" y="297"/>
                  <a:pt x="1033" y="303"/>
                  <a:pt x="1053" y="305"/>
                </a:cubicBezTo>
                <a:cubicBezTo>
                  <a:pt x="1053" y="792"/>
                  <a:pt x="1053" y="792"/>
                  <a:pt x="1053" y="792"/>
                </a:cubicBezTo>
                <a:cubicBezTo>
                  <a:pt x="1058" y="792"/>
                  <a:pt x="1063" y="792"/>
                  <a:pt x="1068" y="792"/>
                </a:cubicBezTo>
                <a:cubicBezTo>
                  <a:pt x="1073" y="792"/>
                  <a:pt x="1078" y="792"/>
                  <a:pt x="1083" y="792"/>
                </a:cubicBezTo>
                <a:cubicBezTo>
                  <a:pt x="1083" y="305"/>
                  <a:pt x="1083" y="305"/>
                  <a:pt x="1083" y="305"/>
                </a:cubicBezTo>
                <a:cubicBezTo>
                  <a:pt x="1112" y="302"/>
                  <a:pt x="1138" y="292"/>
                  <a:pt x="1159" y="276"/>
                </a:cubicBezTo>
                <a:cubicBezTo>
                  <a:pt x="1266" y="373"/>
                  <a:pt x="1266" y="373"/>
                  <a:pt x="1266" y="373"/>
                </a:cubicBezTo>
                <a:cubicBezTo>
                  <a:pt x="1258" y="388"/>
                  <a:pt x="1253" y="406"/>
                  <a:pt x="1253" y="424"/>
                </a:cubicBezTo>
                <a:cubicBezTo>
                  <a:pt x="1253" y="467"/>
                  <a:pt x="1278" y="504"/>
                  <a:pt x="1314" y="522"/>
                </a:cubicBezTo>
                <a:cubicBezTo>
                  <a:pt x="1193" y="815"/>
                  <a:pt x="1193" y="815"/>
                  <a:pt x="1193" y="815"/>
                </a:cubicBezTo>
                <a:cubicBezTo>
                  <a:pt x="1198" y="817"/>
                  <a:pt x="1204" y="819"/>
                  <a:pt x="1209" y="822"/>
                </a:cubicBezTo>
                <a:cubicBezTo>
                  <a:pt x="1331" y="529"/>
                  <a:pt x="1331" y="529"/>
                  <a:pt x="1331" y="529"/>
                </a:cubicBezTo>
                <a:cubicBezTo>
                  <a:pt x="1341" y="532"/>
                  <a:pt x="1351" y="533"/>
                  <a:pt x="1363" y="533"/>
                </a:cubicBezTo>
                <a:cubicBezTo>
                  <a:pt x="1409" y="533"/>
                  <a:pt x="1448" y="505"/>
                  <a:pt x="1464" y="464"/>
                </a:cubicBezTo>
                <a:cubicBezTo>
                  <a:pt x="1559" y="472"/>
                  <a:pt x="1559" y="472"/>
                  <a:pt x="1559" y="472"/>
                </a:cubicBezTo>
                <a:cubicBezTo>
                  <a:pt x="1558" y="477"/>
                  <a:pt x="1558" y="483"/>
                  <a:pt x="1558" y="488"/>
                </a:cubicBezTo>
                <a:cubicBezTo>
                  <a:pt x="1558" y="527"/>
                  <a:pt x="1572" y="562"/>
                  <a:pt x="1596" y="589"/>
                </a:cubicBezTo>
                <a:cubicBezTo>
                  <a:pt x="1302" y="883"/>
                  <a:pt x="1302" y="883"/>
                  <a:pt x="1302" y="883"/>
                </a:cubicBezTo>
                <a:cubicBezTo>
                  <a:pt x="1310" y="889"/>
                  <a:pt x="1317" y="897"/>
                  <a:pt x="1324" y="904"/>
                </a:cubicBezTo>
                <a:cubicBezTo>
                  <a:pt x="1618" y="610"/>
                  <a:pt x="1618" y="610"/>
                  <a:pt x="1618" y="610"/>
                </a:cubicBezTo>
                <a:cubicBezTo>
                  <a:pt x="1639" y="625"/>
                  <a:pt x="1664" y="636"/>
                  <a:pt x="1691" y="640"/>
                </a:cubicBezTo>
                <a:cubicBezTo>
                  <a:pt x="1678" y="771"/>
                  <a:pt x="1678" y="771"/>
                  <a:pt x="1678" y="771"/>
                </a:cubicBezTo>
                <a:cubicBezTo>
                  <a:pt x="1623" y="777"/>
                  <a:pt x="1581" y="823"/>
                  <a:pt x="1581" y="879"/>
                </a:cubicBezTo>
                <a:cubicBezTo>
                  <a:pt x="1581" y="891"/>
                  <a:pt x="1583" y="903"/>
                  <a:pt x="1586" y="914"/>
                </a:cubicBezTo>
                <a:cubicBezTo>
                  <a:pt x="1385" y="997"/>
                  <a:pt x="1385" y="997"/>
                  <a:pt x="1385" y="997"/>
                </a:cubicBezTo>
                <a:cubicBezTo>
                  <a:pt x="1387" y="1003"/>
                  <a:pt x="1390" y="1008"/>
                  <a:pt x="1392" y="1014"/>
                </a:cubicBezTo>
                <a:cubicBezTo>
                  <a:pt x="1593" y="930"/>
                  <a:pt x="1593" y="930"/>
                  <a:pt x="1593" y="930"/>
                </a:cubicBezTo>
                <a:cubicBezTo>
                  <a:pt x="1612" y="965"/>
                  <a:pt x="1648" y="989"/>
                  <a:pt x="1690" y="989"/>
                </a:cubicBezTo>
                <a:cubicBezTo>
                  <a:pt x="1719" y="989"/>
                  <a:pt x="1745" y="978"/>
                  <a:pt x="1764" y="960"/>
                </a:cubicBezTo>
                <a:cubicBezTo>
                  <a:pt x="1983" y="1078"/>
                  <a:pt x="1983" y="1078"/>
                  <a:pt x="1983" y="1078"/>
                </a:cubicBezTo>
                <a:cubicBezTo>
                  <a:pt x="1978" y="1092"/>
                  <a:pt x="1974" y="1107"/>
                  <a:pt x="1973" y="1123"/>
                </a:cubicBezTo>
                <a:cubicBezTo>
                  <a:pt x="1414" y="1123"/>
                  <a:pt x="1414" y="1123"/>
                  <a:pt x="1414" y="1123"/>
                </a:cubicBezTo>
                <a:cubicBezTo>
                  <a:pt x="1415" y="1128"/>
                  <a:pt x="1415" y="1133"/>
                  <a:pt x="1415" y="1138"/>
                </a:cubicBezTo>
                <a:cubicBezTo>
                  <a:pt x="1415" y="1143"/>
                  <a:pt x="1415" y="1148"/>
                  <a:pt x="1414" y="1153"/>
                </a:cubicBezTo>
                <a:cubicBezTo>
                  <a:pt x="1973" y="1153"/>
                  <a:pt x="1973" y="1153"/>
                  <a:pt x="1973" y="1153"/>
                </a:cubicBezTo>
                <a:cubicBezTo>
                  <a:pt x="1978" y="1193"/>
                  <a:pt x="1998" y="1229"/>
                  <a:pt x="2028" y="1253"/>
                </a:cubicBezTo>
                <a:lnTo>
                  <a:pt x="1940" y="1369"/>
                </a:lnTo>
                <a:close/>
                <a:moveTo>
                  <a:pt x="1350" y="1031"/>
                </a:moveTo>
                <a:cubicBezTo>
                  <a:pt x="1348" y="1025"/>
                  <a:pt x="1345" y="1020"/>
                  <a:pt x="1343" y="1014"/>
                </a:cubicBezTo>
                <a:cubicBezTo>
                  <a:pt x="1330" y="985"/>
                  <a:pt x="1313" y="959"/>
                  <a:pt x="1292" y="936"/>
                </a:cubicBezTo>
                <a:cubicBezTo>
                  <a:pt x="1285" y="928"/>
                  <a:pt x="1278" y="921"/>
                  <a:pt x="1270" y="915"/>
                </a:cubicBezTo>
                <a:cubicBezTo>
                  <a:pt x="1247" y="894"/>
                  <a:pt x="1221" y="876"/>
                  <a:pt x="1192" y="863"/>
                </a:cubicBezTo>
                <a:cubicBezTo>
                  <a:pt x="1186" y="861"/>
                  <a:pt x="1181" y="858"/>
                  <a:pt x="1175" y="856"/>
                </a:cubicBezTo>
                <a:cubicBezTo>
                  <a:pt x="1147" y="845"/>
                  <a:pt x="1116" y="839"/>
                  <a:pt x="1083" y="837"/>
                </a:cubicBezTo>
                <a:cubicBezTo>
                  <a:pt x="1079" y="837"/>
                  <a:pt x="1073" y="837"/>
                  <a:pt x="1068" y="837"/>
                </a:cubicBezTo>
                <a:cubicBezTo>
                  <a:pt x="1063" y="837"/>
                  <a:pt x="1058" y="837"/>
                  <a:pt x="1053" y="837"/>
                </a:cubicBezTo>
                <a:cubicBezTo>
                  <a:pt x="1021" y="839"/>
                  <a:pt x="990" y="845"/>
                  <a:pt x="962" y="856"/>
                </a:cubicBezTo>
                <a:cubicBezTo>
                  <a:pt x="956" y="858"/>
                  <a:pt x="950" y="861"/>
                  <a:pt x="945" y="863"/>
                </a:cubicBezTo>
                <a:cubicBezTo>
                  <a:pt x="916" y="876"/>
                  <a:pt x="890" y="894"/>
                  <a:pt x="866" y="915"/>
                </a:cubicBezTo>
                <a:cubicBezTo>
                  <a:pt x="859" y="921"/>
                  <a:pt x="852" y="928"/>
                  <a:pt x="845" y="936"/>
                </a:cubicBezTo>
                <a:cubicBezTo>
                  <a:pt x="824" y="959"/>
                  <a:pt x="807" y="985"/>
                  <a:pt x="794" y="1014"/>
                </a:cubicBezTo>
                <a:cubicBezTo>
                  <a:pt x="791" y="1020"/>
                  <a:pt x="789" y="1025"/>
                  <a:pt x="787" y="1031"/>
                </a:cubicBezTo>
                <a:cubicBezTo>
                  <a:pt x="776" y="1060"/>
                  <a:pt x="769" y="1091"/>
                  <a:pt x="768" y="1123"/>
                </a:cubicBezTo>
                <a:cubicBezTo>
                  <a:pt x="767" y="1128"/>
                  <a:pt x="767" y="1133"/>
                  <a:pt x="767" y="1138"/>
                </a:cubicBezTo>
                <a:cubicBezTo>
                  <a:pt x="767" y="1143"/>
                  <a:pt x="767" y="1148"/>
                  <a:pt x="768" y="1153"/>
                </a:cubicBezTo>
                <a:cubicBezTo>
                  <a:pt x="769" y="1185"/>
                  <a:pt x="776" y="1216"/>
                  <a:pt x="787" y="1245"/>
                </a:cubicBezTo>
                <a:cubicBezTo>
                  <a:pt x="789" y="1250"/>
                  <a:pt x="791" y="1256"/>
                  <a:pt x="794" y="1261"/>
                </a:cubicBezTo>
                <a:cubicBezTo>
                  <a:pt x="807" y="1290"/>
                  <a:pt x="824" y="1317"/>
                  <a:pt x="845" y="1340"/>
                </a:cubicBezTo>
                <a:cubicBezTo>
                  <a:pt x="852" y="1347"/>
                  <a:pt x="859" y="1354"/>
                  <a:pt x="866" y="1361"/>
                </a:cubicBezTo>
                <a:cubicBezTo>
                  <a:pt x="890" y="1382"/>
                  <a:pt x="916" y="1399"/>
                  <a:pt x="945" y="1412"/>
                </a:cubicBezTo>
                <a:cubicBezTo>
                  <a:pt x="950" y="1415"/>
                  <a:pt x="956" y="1417"/>
                  <a:pt x="962" y="1419"/>
                </a:cubicBezTo>
                <a:cubicBezTo>
                  <a:pt x="990" y="1430"/>
                  <a:pt x="1021" y="1437"/>
                  <a:pt x="1053" y="1439"/>
                </a:cubicBezTo>
                <a:cubicBezTo>
                  <a:pt x="1058" y="1439"/>
                  <a:pt x="1063" y="1439"/>
                  <a:pt x="1068" y="1439"/>
                </a:cubicBezTo>
                <a:cubicBezTo>
                  <a:pt x="1073" y="1439"/>
                  <a:pt x="1079" y="1439"/>
                  <a:pt x="1083" y="1439"/>
                </a:cubicBezTo>
                <a:cubicBezTo>
                  <a:pt x="1116" y="1437"/>
                  <a:pt x="1147" y="1430"/>
                  <a:pt x="1175" y="1419"/>
                </a:cubicBezTo>
                <a:cubicBezTo>
                  <a:pt x="1181" y="1417"/>
                  <a:pt x="1186" y="1415"/>
                  <a:pt x="1192" y="1412"/>
                </a:cubicBezTo>
                <a:cubicBezTo>
                  <a:pt x="1221" y="1399"/>
                  <a:pt x="1247" y="1382"/>
                  <a:pt x="1270" y="1361"/>
                </a:cubicBezTo>
                <a:cubicBezTo>
                  <a:pt x="1278" y="1354"/>
                  <a:pt x="1285" y="1347"/>
                  <a:pt x="1292" y="1340"/>
                </a:cubicBezTo>
                <a:cubicBezTo>
                  <a:pt x="1313" y="1317"/>
                  <a:pt x="1330" y="1290"/>
                  <a:pt x="1343" y="1261"/>
                </a:cubicBezTo>
                <a:cubicBezTo>
                  <a:pt x="1345" y="1256"/>
                  <a:pt x="1348" y="1250"/>
                  <a:pt x="1350" y="1245"/>
                </a:cubicBezTo>
                <a:cubicBezTo>
                  <a:pt x="1361" y="1216"/>
                  <a:pt x="1368" y="1185"/>
                  <a:pt x="1369" y="1153"/>
                </a:cubicBezTo>
                <a:cubicBezTo>
                  <a:pt x="1369" y="1148"/>
                  <a:pt x="1370" y="1143"/>
                  <a:pt x="1370" y="1138"/>
                </a:cubicBezTo>
                <a:cubicBezTo>
                  <a:pt x="1370" y="1133"/>
                  <a:pt x="1369" y="1128"/>
                  <a:pt x="1369" y="1123"/>
                </a:cubicBezTo>
                <a:cubicBezTo>
                  <a:pt x="1368" y="1091"/>
                  <a:pt x="1361" y="1060"/>
                  <a:pt x="1350" y="1031"/>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0" name="Freeform 80"/>
          <p:cNvSpPr>
            <a:spLocks noEditPoints="1"/>
          </p:cNvSpPr>
          <p:nvPr/>
        </p:nvSpPr>
        <p:spPr bwMode="black">
          <a:xfrm>
            <a:off x="940769" y="1579682"/>
            <a:ext cx="295275" cy="358230"/>
          </a:xfrm>
          <a:custGeom>
            <a:avLst/>
            <a:gdLst>
              <a:gd name="T0" fmla="*/ 952 w 1833"/>
              <a:gd name="T1" fmla="*/ 1301 h 2225"/>
              <a:gd name="T2" fmla="*/ 882 w 1833"/>
              <a:gd name="T3" fmla="*/ 1413 h 2225"/>
              <a:gd name="T4" fmla="*/ 677 w 1833"/>
              <a:gd name="T5" fmla="*/ 2162 h 2225"/>
              <a:gd name="T6" fmla="*/ 1156 w 1833"/>
              <a:gd name="T7" fmla="*/ 2162 h 2225"/>
              <a:gd name="T8" fmla="*/ 1071 w 1833"/>
              <a:gd name="T9" fmla="*/ 2089 h 2225"/>
              <a:gd name="T10" fmla="*/ 785 w 1833"/>
              <a:gd name="T11" fmla="*/ 2039 h 2225"/>
              <a:gd name="T12" fmla="*/ 1071 w 1833"/>
              <a:gd name="T13" fmla="*/ 2089 h 2225"/>
              <a:gd name="T14" fmla="*/ 760 w 1833"/>
              <a:gd name="T15" fmla="*/ 1949 h 2225"/>
              <a:gd name="T16" fmla="*/ 1096 w 1833"/>
              <a:gd name="T17" fmla="*/ 1949 h 2225"/>
              <a:gd name="T18" fmla="*/ 1026 w 1833"/>
              <a:gd name="T19" fmla="*/ 1801 h 2225"/>
              <a:gd name="T20" fmla="*/ 1061 w 1833"/>
              <a:gd name="T21" fmla="*/ 1836 h 2225"/>
              <a:gd name="T22" fmla="*/ 260 w 1833"/>
              <a:gd name="T23" fmla="*/ 1329 h 2225"/>
              <a:gd name="T24" fmla="*/ 748 w 1833"/>
              <a:gd name="T25" fmla="*/ 1136 h 2225"/>
              <a:gd name="T26" fmla="*/ 190 w 1833"/>
              <a:gd name="T27" fmla="*/ 1329 h 2225"/>
              <a:gd name="T28" fmla="*/ 0 w 1833"/>
              <a:gd name="T29" fmla="*/ 1476 h 2225"/>
              <a:gd name="T30" fmla="*/ 416 w 1833"/>
              <a:gd name="T31" fmla="*/ 2225 h 2225"/>
              <a:gd name="T32" fmla="*/ 416 w 1833"/>
              <a:gd name="T33" fmla="*/ 1413 h 2225"/>
              <a:gd name="T34" fmla="*/ 83 w 1833"/>
              <a:gd name="T35" fmla="*/ 2064 h 2225"/>
              <a:gd name="T36" fmla="*/ 419 w 1833"/>
              <a:gd name="T37" fmla="*/ 2064 h 2225"/>
              <a:gd name="T38" fmla="*/ 108 w 1833"/>
              <a:gd name="T39" fmla="*/ 1974 h 2225"/>
              <a:gd name="T40" fmla="*/ 394 w 1833"/>
              <a:gd name="T41" fmla="*/ 1924 h 2225"/>
              <a:gd name="T42" fmla="*/ 384 w 1833"/>
              <a:gd name="T43" fmla="*/ 1836 h 2225"/>
              <a:gd name="T44" fmla="*/ 419 w 1833"/>
              <a:gd name="T45" fmla="*/ 1801 h 2225"/>
              <a:gd name="T46" fmla="*/ 1643 w 1833"/>
              <a:gd name="T47" fmla="*/ 1413 h 2225"/>
              <a:gd name="T48" fmla="*/ 1082 w 1833"/>
              <a:gd name="T49" fmla="*/ 1101 h 2225"/>
              <a:gd name="T50" fmla="*/ 1415 w 1833"/>
              <a:gd name="T51" fmla="*/ 1171 h 2225"/>
              <a:gd name="T52" fmla="*/ 1417 w 1833"/>
              <a:gd name="T53" fmla="*/ 1413 h 2225"/>
              <a:gd name="T54" fmla="*/ 1417 w 1833"/>
              <a:gd name="T55" fmla="*/ 2225 h 2225"/>
              <a:gd name="T56" fmla="*/ 1833 w 1833"/>
              <a:gd name="T57" fmla="*/ 1476 h 2225"/>
              <a:gd name="T58" fmla="*/ 1462 w 1833"/>
              <a:gd name="T59" fmla="*/ 2089 h 2225"/>
              <a:gd name="T60" fmla="*/ 1748 w 1833"/>
              <a:gd name="T61" fmla="*/ 2039 h 2225"/>
              <a:gd name="T62" fmla="*/ 1748 w 1833"/>
              <a:gd name="T63" fmla="*/ 1974 h 2225"/>
              <a:gd name="T64" fmla="*/ 1462 w 1833"/>
              <a:gd name="T65" fmla="*/ 1924 h 2225"/>
              <a:gd name="T66" fmla="*/ 1748 w 1833"/>
              <a:gd name="T67" fmla="*/ 1974 h 2225"/>
              <a:gd name="T68" fmla="*/ 1738 w 1833"/>
              <a:gd name="T69" fmla="*/ 1766 h 2225"/>
              <a:gd name="T70" fmla="*/ 650 w 1833"/>
              <a:gd name="T71" fmla="*/ 592 h 2225"/>
              <a:gd name="T72" fmla="*/ 1296 w 1833"/>
              <a:gd name="T73" fmla="*/ 113 h 2225"/>
              <a:gd name="T74" fmla="*/ 537 w 1833"/>
              <a:gd name="T75" fmla="*/ 113 h 2225"/>
              <a:gd name="T76" fmla="*/ 603 w 1833"/>
              <a:gd name="T77" fmla="*/ 113 h 2225"/>
              <a:gd name="T78" fmla="*/ 1231 w 1833"/>
              <a:gd name="T79" fmla="*/ 113 h 2225"/>
              <a:gd name="T80" fmla="*/ 650 w 1833"/>
              <a:gd name="T81" fmla="*/ 526 h 2225"/>
              <a:gd name="T82" fmla="*/ 405 w 1833"/>
              <a:gd name="T83" fmla="*/ 902 h 2225"/>
              <a:gd name="T84" fmla="*/ 803 w 1833"/>
              <a:gd name="T85" fmla="*/ 1101 h 2225"/>
              <a:gd name="T86" fmla="*/ 882 w 1833"/>
              <a:gd name="T87" fmla="*/ 1250 h 2225"/>
              <a:gd name="T88" fmla="*/ 1031 w 1833"/>
              <a:gd name="T89" fmla="*/ 1171 h 2225"/>
              <a:gd name="T90" fmla="*/ 952 w 1833"/>
              <a:gd name="T91" fmla="*/ 1021 h 2225"/>
              <a:gd name="T92" fmla="*/ 1457 w 1833"/>
              <a:gd name="T93" fmla="*/ 874 h 2225"/>
              <a:gd name="T94" fmla="*/ 1303 w 1833"/>
              <a:gd name="T95" fmla="*/ 652 h 2225"/>
              <a:gd name="T96" fmla="*/ 530 w 1833"/>
              <a:gd name="T97" fmla="*/ 652 h 2225"/>
              <a:gd name="T98" fmla="*/ 377 w 1833"/>
              <a:gd name="T99" fmla="*/ 874 h 2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833" h="2225">
                <a:moveTo>
                  <a:pt x="1093" y="1413"/>
                </a:moveTo>
                <a:cubicBezTo>
                  <a:pt x="952" y="1413"/>
                  <a:pt x="952" y="1413"/>
                  <a:pt x="952" y="1413"/>
                </a:cubicBezTo>
                <a:cubicBezTo>
                  <a:pt x="952" y="1301"/>
                  <a:pt x="952" y="1301"/>
                  <a:pt x="952" y="1301"/>
                </a:cubicBezTo>
                <a:cubicBezTo>
                  <a:pt x="940" y="1304"/>
                  <a:pt x="929" y="1305"/>
                  <a:pt x="917" y="1305"/>
                </a:cubicBezTo>
                <a:cubicBezTo>
                  <a:pt x="905" y="1305"/>
                  <a:pt x="893" y="1304"/>
                  <a:pt x="882" y="1301"/>
                </a:cubicBezTo>
                <a:cubicBezTo>
                  <a:pt x="882" y="1413"/>
                  <a:pt x="882" y="1413"/>
                  <a:pt x="882" y="1413"/>
                </a:cubicBezTo>
                <a:cubicBezTo>
                  <a:pt x="740" y="1413"/>
                  <a:pt x="740" y="1413"/>
                  <a:pt x="740" y="1413"/>
                </a:cubicBezTo>
                <a:cubicBezTo>
                  <a:pt x="705" y="1413"/>
                  <a:pt x="677" y="1441"/>
                  <a:pt x="677" y="1476"/>
                </a:cubicBezTo>
                <a:cubicBezTo>
                  <a:pt x="677" y="2162"/>
                  <a:pt x="677" y="2162"/>
                  <a:pt x="677" y="2162"/>
                </a:cubicBezTo>
                <a:cubicBezTo>
                  <a:pt x="677" y="2197"/>
                  <a:pt x="705" y="2225"/>
                  <a:pt x="740" y="2225"/>
                </a:cubicBezTo>
                <a:cubicBezTo>
                  <a:pt x="1093" y="2225"/>
                  <a:pt x="1093" y="2225"/>
                  <a:pt x="1093" y="2225"/>
                </a:cubicBezTo>
                <a:cubicBezTo>
                  <a:pt x="1128" y="2225"/>
                  <a:pt x="1156" y="2197"/>
                  <a:pt x="1156" y="2162"/>
                </a:cubicBezTo>
                <a:cubicBezTo>
                  <a:pt x="1156" y="1476"/>
                  <a:pt x="1156" y="1476"/>
                  <a:pt x="1156" y="1476"/>
                </a:cubicBezTo>
                <a:cubicBezTo>
                  <a:pt x="1156" y="1441"/>
                  <a:pt x="1128" y="1413"/>
                  <a:pt x="1093" y="1413"/>
                </a:cubicBezTo>
                <a:close/>
                <a:moveTo>
                  <a:pt x="1071" y="2089"/>
                </a:moveTo>
                <a:cubicBezTo>
                  <a:pt x="785" y="2089"/>
                  <a:pt x="785" y="2089"/>
                  <a:pt x="785" y="2089"/>
                </a:cubicBezTo>
                <a:cubicBezTo>
                  <a:pt x="771" y="2089"/>
                  <a:pt x="760" y="2078"/>
                  <a:pt x="760" y="2064"/>
                </a:cubicBezTo>
                <a:cubicBezTo>
                  <a:pt x="760" y="2050"/>
                  <a:pt x="771" y="2039"/>
                  <a:pt x="785" y="2039"/>
                </a:cubicBezTo>
                <a:cubicBezTo>
                  <a:pt x="1071" y="2039"/>
                  <a:pt x="1071" y="2039"/>
                  <a:pt x="1071" y="2039"/>
                </a:cubicBezTo>
                <a:cubicBezTo>
                  <a:pt x="1085" y="2039"/>
                  <a:pt x="1096" y="2050"/>
                  <a:pt x="1096" y="2064"/>
                </a:cubicBezTo>
                <a:cubicBezTo>
                  <a:pt x="1096" y="2078"/>
                  <a:pt x="1085" y="2089"/>
                  <a:pt x="1071" y="2089"/>
                </a:cubicBezTo>
                <a:close/>
                <a:moveTo>
                  <a:pt x="1071" y="1974"/>
                </a:moveTo>
                <a:cubicBezTo>
                  <a:pt x="785" y="1974"/>
                  <a:pt x="785" y="1974"/>
                  <a:pt x="785" y="1974"/>
                </a:cubicBezTo>
                <a:cubicBezTo>
                  <a:pt x="771" y="1974"/>
                  <a:pt x="760" y="1963"/>
                  <a:pt x="760" y="1949"/>
                </a:cubicBezTo>
                <a:cubicBezTo>
                  <a:pt x="760" y="1935"/>
                  <a:pt x="771" y="1924"/>
                  <a:pt x="785" y="1924"/>
                </a:cubicBezTo>
                <a:cubicBezTo>
                  <a:pt x="1071" y="1924"/>
                  <a:pt x="1071" y="1924"/>
                  <a:pt x="1071" y="1924"/>
                </a:cubicBezTo>
                <a:cubicBezTo>
                  <a:pt x="1085" y="1924"/>
                  <a:pt x="1096" y="1935"/>
                  <a:pt x="1096" y="1949"/>
                </a:cubicBezTo>
                <a:cubicBezTo>
                  <a:pt x="1096" y="1963"/>
                  <a:pt x="1085" y="1974"/>
                  <a:pt x="1071" y="1974"/>
                </a:cubicBezTo>
                <a:close/>
                <a:moveTo>
                  <a:pt x="1061" y="1836"/>
                </a:moveTo>
                <a:cubicBezTo>
                  <a:pt x="1042" y="1836"/>
                  <a:pt x="1026" y="1820"/>
                  <a:pt x="1026" y="1801"/>
                </a:cubicBezTo>
                <a:cubicBezTo>
                  <a:pt x="1026" y="1782"/>
                  <a:pt x="1042" y="1766"/>
                  <a:pt x="1061" y="1766"/>
                </a:cubicBezTo>
                <a:cubicBezTo>
                  <a:pt x="1081" y="1766"/>
                  <a:pt x="1096" y="1782"/>
                  <a:pt x="1096" y="1801"/>
                </a:cubicBezTo>
                <a:cubicBezTo>
                  <a:pt x="1096" y="1820"/>
                  <a:pt x="1081" y="1836"/>
                  <a:pt x="1061" y="1836"/>
                </a:cubicBezTo>
                <a:close/>
                <a:moveTo>
                  <a:pt x="416" y="1413"/>
                </a:moveTo>
                <a:cubicBezTo>
                  <a:pt x="260" y="1413"/>
                  <a:pt x="260" y="1413"/>
                  <a:pt x="260" y="1413"/>
                </a:cubicBezTo>
                <a:cubicBezTo>
                  <a:pt x="260" y="1329"/>
                  <a:pt x="260" y="1329"/>
                  <a:pt x="260" y="1329"/>
                </a:cubicBezTo>
                <a:cubicBezTo>
                  <a:pt x="260" y="1242"/>
                  <a:pt x="331" y="1171"/>
                  <a:pt x="418" y="1171"/>
                </a:cubicBezTo>
                <a:cubicBezTo>
                  <a:pt x="751" y="1171"/>
                  <a:pt x="751" y="1171"/>
                  <a:pt x="751" y="1171"/>
                </a:cubicBezTo>
                <a:cubicBezTo>
                  <a:pt x="749" y="1159"/>
                  <a:pt x="748" y="1148"/>
                  <a:pt x="748" y="1136"/>
                </a:cubicBezTo>
                <a:cubicBezTo>
                  <a:pt x="748" y="1124"/>
                  <a:pt x="749" y="1112"/>
                  <a:pt x="751" y="1101"/>
                </a:cubicBezTo>
                <a:cubicBezTo>
                  <a:pt x="418" y="1101"/>
                  <a:pt x="418" y="1101"/>
                  <a:pt x="418" y="1101"/>
                </a:cubicBezTo>
                <a:cubicBezTo>
                  <a:pt x="293" y="1101"/>
                  <a:pt x="190" y="1203"/>
                  <a:pt x="190" y="1329"/>
                </a:cubicBezTo>
                <a:cubicBezTo>
                  <a:pt x="190" y="1413"/>
                  <a:pt x="190" y="1413"/>
                  <a:pt x="190" y="1413"/>
                </a:cubicBezTo>
                <a:cubicBezTo>
                  <a:pt x="63" y="1413"/>
                  <a:pt x="63" y="1413"/>
                  <a:pt x="63" y="1413"/>
                </a:cubicBezTo>
                <a:cubicBezTo>
                  <a:pt x="28" y="1413"/>
                  <a:pt x="0" y="1441"/>
                  <a:pt x="0" y="1476"/>
                </a:cubicBezTo>
                <a:cubicBezTo>
                  <a:pt x="0" y="2162"/>
                  <a:pt x="0" y="2162"/>
                  <a:pt x="0" y="2162"/>
                </a:cubicBezTo>
                <a:cubicBezTo>
                  <a:pt x="0" y="2197"/>
                  <a:pt x="28" y="2225"/>
                  <a:pt x="63" y="2225"/>
                </a:cubicBezTo>
                <a:cubicBezTo>
                  <a:pt x="416" y="2225"/>
                  <a:pt x="416" y="2225"/>
                  <a:pt x="416" y="2225"/>
                </a:cubicBezTo>
                <a:cubicBezTo>
                  <a:pt x="451" y="2225"/>
                  <a:pt x="480" y="2197"/>
                  <a:pt x="480" y="2162"/>
                </a:cubicBezTo>
                <a:cubicBezTo>
                  <a:pt x="480" y="1476"/>
                  <a:pt x="480" y="1476"/>
                  <a:pt x="480" y="1476"/>
                </a:cubicBezTo>
                <a:cubicBezTo>
                  <a:pt x="480" y="1441"/>
                  <a:pt x="451" y="1413"/>
                  <a:pt x="416" y="1413"/>
                </a:cubicBezTo>
                <a:close/>
                <a:moveTo>
                  <a:pt x="394" y="2089"/>
                </a:moveTo>
                <a:cubicBezTo>
                  <a:pt x="108" y="2089"/>
                  <a:pt x="108" y="2089"/>
                  <a:pt x="108" y="2089"/>
                </a:cubicBezTo>
                <a:cubicBezTo>
                  <a:pt x="94" y="2089"/>
                  <a:pt x="83" y="2078"/>
                  <a:pt x="83" y="2064"/>
                </a:cubicBezTo>
                <a:cubicBezTo>
                  <a:pt x="83" y="2050"/>
                  <a:pt x="94" y="2039"/>
                  <a:pt x="108" y="2039"/>
                </a:cubicBezTo>
                <a:cubicBezTo>
                  <a:pt x="394" y="2039"/>
                  <a:pt x="394" y="2039"/>
                  <a:pt x="394" y="2039"/>
                </a:cubicBezTo>
                <a:cubicBezTo>
                  <a:pt x="408" y="2039"/>
                  <a:pt x="419" y="2050"/>
                  <a:pt x="419" y="2064"/>
                </a:cubicBezTo>
                <a:cubicBezTo>
                  <a:pt x="419" y="2078"/>
                  <a:pt x="408" y="2089"/>
                  <a:pt x="394" y="2089"/>
                </a:cubicBezTo>
                <a:close/>
                <a:moveTo>
                  <a:pt x="394" y="1974"/>
                </a:moveTo>
                <a:cubicBezTo>
                  <a:pt x="108" y="1974"/>
                  <a:pt x="108" y="1974"/>
                  <a:pt x="108" y="1974"/>
                </a:cubicBezTo>
                <a:cubicBezTo>
                  <a:pt x="94" y="1974"/>
                  <a:pt x="83" y="1963"/>
                  <a:pt x="83" y="1949"/>
                </a:cubicBezTo>
                <a:cubicBezTo>
                  <a:pt x="83" y="1935"/>
                  <a:pt x="94" y="1924"/>
                  <a:pt x="108" y="1924"/>
                </a:cubicBezTo>
                <a:cubicBezTo>
                  <a:pt x="394" y="1924"/>
                  <a:pt x="394" y="1924"/>
                  <a:pt x="394" y="1924"/>
                </a:cubicBezTo>
                <a:cubicBezTo>
                  <a:pt x="408" y="1924"/>
                  <a:pt x="419" y="1935"/>
                  <a:pt x="419" y="1949"/>
                </a:cubicBezTo>
                <a:cubicBezTo>
                  <a:pt x="419" y="1963"/>
                  <a:pt x="408" y="1974"/>
                  <a:pt x="394" y="1974"/>
                </a:cubicBezTo>
                <a:close/>
                <a:moveTo>
                  <a:pt x="384" y="1836"/>
                </a:moveTo>
                <a:cubicBezTo>
                  <a:pt x="365" y="1836"/>
                  <a:pt x="350" y="1820"/>
                  <a:pt x="350" y="1801"/>
                </a:cubicBezTo>
                <a:cubicBezTo>
                  <a:pt x="350" y="1782"/>
                  <a:pt x="365" y="1766"/>
                  <a:pt x="384" y="1766"/>
                </a:cubicBezTo>
                <a:cubicBezTo>
                  <a:pt x="404" y="1766"/>
                  <a:pt x="419" y="1782"/>
                  <a:pt x="419" y="1801"/>
                </a:cubicBezTo>
                <a:cubicBezTo>
                  <a:pt x="419" y="1820"/>
                  <a:pt x="404" y="1836"/>
                  <a:pt x="384" y="1836"/>
                </a:cubicBezTo>
                <a:close/>
                <a:moveTo>
                  <a:pt x="1770" y="1413"/>
                </a:moveTo>
                <a:cubicBezTo>
                  <a:pt x="1643" y="1413"/>
                  <a:pt x="1643" y="1413"/>
                  <a:pt x="1643" y="1413"/>
                </a:cubicBezTo>
                <a:cubicBezTo>
                  <a:pt x="1643" y="1329"/>
                  <a:pt x="1643" y="1329"/>
                  <a:pt x="1643" y="1329"/>
                </a:cubicBezTo>
                <a:cubicBezTo>
                  <a:pt x="1643" y="1203"/>
                  <a:pt x="1541" y="1101"/>
                  <a:pt x="1415" y="1101"/>
                </a:cubicBezTo>
                <a:cubicBezTo>
                  <a:pt x="1082" y="1101"/>
                  <a:pt x="1082" y="1101"/>
                  <a:pt x="1082" y="1101"/>
                </a:cubicBezTo>
                <a:cubicBezTo>
                  <a:pt x="1085" y="1112"/>
                  <a:pt x="1086" y="1124"/>
                  <a:pt x="1086" y="1136"/>
                </a:cubicBezTo>
                <a:cubicBezTo>
                  <a:pt x="1086" y="1148"/>
                  <a:pt x="1085" y="1159"/>
                  <a:pt x="1082" y="1171"/>
                </a:cubicBezTo>
                <a:cubicBezTo>
                  <a:pt x="1415" y="1171"/>
                  <a:pt x="1415" y="1171"/>
                  <a:pt x="1415" y="1171"/>
                </a:cubicBezTo>
                <a:cubicBezTo>
                  <a:pt x="1503" y="1171"/>
                  <a:pt x="1574" y="1242"/>
                  <a:pt x="1574" y="1329"/>
                </a:cubicBezTo>
                <a:cubicBezTo>
                  <a:pt x="1574" y="1413"/>
                  <a:pt x="1574" y="1413"/>
                  <a:pt x="1574" y="1413"/>
                </a:cubicBezTo>
                <a:cubicBezTo>
                  <a:pt x="1417" y="1413"/>
                  <a:pt x="1417" y="1413"/>
                  <a:pt x="1417" y="1413"/>
                </a:cubicBezTo>
                <a:cubicBezTo>
                  <a:pt x="1382" y="1413"/>
                  <a:pt x="1354" y="1441"/>
                  <a:pt x="1354" y="1476"/>
                </a:cubicBezTo>
                <a:cubicBezTo>
                  <a:pt x="1354" y="2162"/>
                  <a:pt x="1354" y="2162"/>
                  <a:pt x="1354" y="2162"/>
                </a:cubicBezTo>
                <a:cubicBezTo>
                  <a:pt x="1354" y="2197"/>
                  <a:pt x="1382" y="2225"/>
                  <a:pt x="1417" y="2225"/>
                </a:cubicBezTo>
                <a:cubicBezTo>
                  <a:pt x="1770" y="2225"/>
                  <a:pt x="1770" y="2225"/>
                  <a:pt x="1770" y="2225"/>
                </a:cubicBezTo>
                <a:cubicBezTo>
                  <a:pt x="1805" y="2225"/>
                  <a:pt x="1833" y="2197"/>
                  <a:pt x="1833" y="2162"/>
                </a:cubicBezTo>
                <a:cubicBezTo>
                  <a:pt x="1833" y="1476"/>
                  <a:pt x="1833" y="1476"/>
                  <a:pt x="1833" y="1476"/>
                </a:cubicBezTo>
                <a:cubicBezTo>
                  <a:pt x="1833" y="1441"/>
                  <a:pt x="1805" y="1413"/>
                  <a:pt x="1770" y="1413"/>
                </a:cubicBezTo>
                <a:close/>
                <a:moveTo>
                  <a:pt x="1748" y="2089"/>
                </a:moveTo>
                <a:cubicBezTo>
                  <a:pt x="1462" y="2089"/>
                  <a:pt x="1462" y="2089"/>
                  <a:pt x="1462" y="2089"/>
                </a:cubicBezTo>
                <a:cubicBezTo>
                  <a:pt x="1448" y="2089"/>
                  <a:pt x="1437" y="2078"/>
                  <a:pt x="1437" y="2064"/>
                </a:cubicBezTo>
                <a:cubicBezTo>
                  <a:pt x="1437" y="2050"/>
                  <a:pt x="1448" y="2039"/>
                  <a:pt x="1462" y="2039"/>
                </a:cubicBezTo>
                <a:cubicBezTo>
                  <a:pt x="1748" y="2039"/>
                  <a:pt x="1748" y="2039"/>
                  <a:pt x="1748" y="2039"/>
                </a:cubicBezTo>
                <a:cubicBezTo>
                  <a:pt x="1762" y="2039"/>
                  <a:pt x="1773" y="2050"/>
                  <a:pt x="1773" y="2064"/>
                </a:cubicBezTo>
                <a:cubicBezTo>
                  <a:pt x="1773" y="2078"/>
                  <a:pt x="1762" y="2089"/>
                  <a:pt x="1748" y="2089"/>
                </a:cubicBezTo>
                <a:close/>
                <a:moveTo>
                  <a:pt x="1748" y="1974"/>
                </a:moveTo>
                <a:cubicBezTo>
                  <a:pt x="1462" y="1974"/>
                  <a:pt x="1462" y="1974"/>
                  <a:pt x="1462" y="1974"/>
                </a:cubicBezTo>
                <a:cubicBezTo>
                  <a:pt x="1448" y="1974"/>
                  <a:pt x="1437" y="1963"/>
                  <a:pt x="1437" y="1949"/>
                </a:cubicBezTo>
                <a:cubicBezTo>
                  <a:pt x="1437" y="1935"/>
                  <a:pt x="1448" y="1924"/>
                  <a:pt x="1462" y="1924"/>
                </a:cubicBezTo>
                <a:cubicBezTo>
                  <a:pt x="1748" y="1924"/>
                  <a:pt x="1748" y="1924"/>
                  <a:pt x="1748" y="1924"/>
                </a:cubicBezTo>
                <a:cubicBezTo>
                  <a:pt x="1762" y="1924"/>
                  <a:pt x="1773" y="1935"/>
                  <a:pt x="1773" y="1949"/>
                </a:cubicBezTo>
                <a:cubicBezTo>
                  <a:pt x="1773" y="1963"/>
                  <a:pt x="1762" y="1974"/>
                  <a:pt x="1748" y="1974"/>
                </a:cubicBezTo>
                <a:close/>
                <a:moveTo>
                  <a:pt x="1738" y="1836"/>
                </a:moveTo>
                <a:cubicBezTo>
                  <a:pt x="1719" y="1836"/>
                  <a:pt x="1703" y="1820"/>
                  <a:pt x="1703" y="1801"/>
                </a:cubicBezTo>
                <a:cubicBezTo>
                  <a:pt x="1703" y="1782"/>
                  <a:pt x="1719" y="1766"/>
                  <a:pt x="1738" y="1766"/>
                </a:cubicBezTo>
                <a:cubicBezTo>
                  <a:pt x="1757" y="1766"/>
                  <a:pt x="1773" y="1782"/>
                  <a:pt x="1773" y="1801"/>
                </a:cubicBezTo>
                <a:cubicBezTo>
                  <a:pt x="1773" y="1820"/>
                  <a:pt x="1757" y="1836"/>
                  <a:pt x="1738" y="1836"/>
                </a:cubicBezTo>
                <a:close/>
                <a:moveTo>
                  <a:pt x="650" y="592"/>
                </a:moveTo>
                <a:cubicBezTo>
                  <a:pt x="1184" y="592"/>
                  <a:pt x="1184" y="592"/>
                  <a:pt x="1184" y="592"/>
                </a:cubicBezTo>
                <a:cubicBezTo>
                  <a:pt x="1246" y="592"/>
                  <a:pt x="1296" y="541"/>
                  <a:pt x="1296" y="479"/>
                </a:cubicBezTo>
                <a:cubicBezTo>
                  <a:pt x="1296" y="113"/>
                  <a:pt x="1296" y="113"/>
                  <a:pt x="1296" y="113"/>
                </a:cubicBezTo>
                <a:cubicBezTo>
                  <a:pt x="1296" y="51"/>
                  <a:pt x="1246" y="0"/>
                  <a:pt x="1184" y="0"/>
                </a:cubicBezTo>
                <a:cubicBezTo>
                  <a:pt x="650" y="0"/>
                  <a:pt x="650" y="0"/>
                  <a:pt x="650" y="0"/>
                </a:cubicBezTo>
                <a:cubicBezTo>
                  <a:pt x="588" y="0"/>
                  <a:pt x="537" y="51"/>
                  <a:pt x="537" y="113"/>
                </a:cubicBezTo>
                <a:cubicBezTo>
                  <a:pt x="537" y="479"/>
                  <a:pt x="537" y="479"/>
                  <a:pt x="537" y="479"/>
                </a:cubicBezTo>
                <a:cubicBezTo>
                  <a:pt x="537" y="541"/>
                  <a:pt x="588" y="592"/>
                  <a:pt x="650" y="592"/>
                </a:cubicBezTo>
                <a:close/>
                <a:moveTo>
                  <a:pt x="603" y="113"/>
                </a:moveTo>
                <a:cubicBezTo>
                  <a:pt x="603" y="87"/>
                  <a:pt x="624" y="66"/>
                  <a:pt x="650" y="66"/>
                </a:cubicBezTo>
                <a:cubicBezTo>
                  <a:pt x="1184" y="66"/>
                  <a:pt x="1184" y="66"/>
                  <a:pt x="1184" y="66"/>
                </a:cubicBezTo>
                <a:cubicBezTo>
                  <a:pt x="1210" y="66"/>
                  <a:pt x="1231" y="87"/>
                  <a:pt x="1231" y="113"/>
                </a:cubicBezTo>
                <a:cubicBezTo>
                  <a:pt x="1231" y="479"/>
                  <a:pt x="1231" y="479"/>
                  <a:pt x="1231" y="479"/>
                </a:cubicBezTo>
                <a:cubicBezTo>
                  <a:pt x="1231" y="505"/>
                  <a:pt x="1210" y="526"/>
                  <a:pt x="1184" y="526"/>
                </a:cubicBezTo>
                <a:cubicBezTo>
                  <a:pt x="650" y="526"/>
                  <a:pt x="650" y="526"/>
                  <a:pt x="650" y="526"/>
                </a:cubicBezTo>
                <a:cubicBezTo>
                  <a:pt x="624" y="526"/>
                  <a:pt x="603" y="505"/>
                  <a:pt x="603" y="479"/>
                </a:cubicBezTo>
                <a:lnTo>
                  <a:pt x="603" y="113"/>
                </a:lnTo>
                <a:close/>
                <a:moveTo>
                  <a:pt x="405" y="902"/>
                </a:moveTo>
                <a:cubicBezTo>
                  <a:pt x="882" y="902"/>
                  <a:pt x="882" y="902"/>
                  <a:pt x="882" y="902"/>
                </a:cubicBezTo>
                <a:cubicBezTo>
                  <a:pt x="882" y="1021"/>
                  <a:pt x="882" y="1021"/>
                  <a:pt x="882" y="1021"/>
                </a:cubicBezTo>
                <a:cubicBezTo>
                  <a:pt x="844" y="1033"/>
                  <a:pt x="814" y="1063"/>
                  <a:pt x="803" y="1101"/>
                </a:cubicBezTo>
                <a:cubicBezTo>
                  <a:pt x="799" y="1112"/>
                  <a:pt x="797" y="1124"/>
                  <a:pt x="797" y="1136"/>
                </a:cubicBezTo>
                <a:cubicBezTo>
                  <a:pt x="797" y="1148"/>
                  <a:pt x="799" y="1160"/>
                  <a:pt x="803" y="1171"/>
                </a:cubicBezTo>
                <a:cubicBezTo>
                  <a:pt x="814" y="1209"/>
                  <a:pt x="844" y="1238"/>
                  <a:pt x="882" y="1250"/>
                </a:cubicBezTo>
                <a:cubicBezTo>
                  <a:pt x="893" y="1253"/>
                  <a:pt x="905" y="1255"/>
                  <a:pt x="917" y="1255"/>
                </a:cubicBezTo>
                <a:cubicBezTo>
                  <a:pt x="929" y="1255"/>
                  <a:pt x="941" y="1253"/>
                  <a:pt x="952" y="1250"/>
                </a:cubicBezTo>
                <a:cubicBezTo>
                  <a:pt x="990" y="1238"/>
                  <a:pt x="1020" y="1209"/>
                  <a:pt x="1031" y="1171"/>
                </a:cubicBezTo>
                <a:cubicBezTo>
                  <a:pt x="1034" y="1160"/>
                  <a:pt x="1036" y="1148"/>
                  <a:pt x="1036" y="1136"/>
                </a:cubicBezTo>
                <a:cubicBezTo>
                  <a:pt x="1036" y="1124"/>
                  <a:pt x="1034" y="1112"/>
                  <a:pt x="1031" y="1101"/>
                </a:cubicBezTo>
                <a:cubicBezTo>
                  <a:pt x="1019" y="1063"/>
                  <a:pt x="990" y="1033"/>
                  <a:pt x="952" y="1021"/>
                </a:cubicBezTo>
                <a:cubicBezTo>
                  <a:pt x="952" y="902"/>
                  <a:pt x="952" y="902"/>
                  <a:pt x="952" y="902"/>
                </a:cubicBezTo>
                <a:cubicBezTo>
                  <a:pt x="1429" y="902"/>
                  <a:pt x="1429" y="902"/>
                  <a:pt x="1429" y="902"/>
                </a:cubicBezTo>
                <a:cubicBezTo>
                  <a:pt x="1444" y="902"/>
                  <a:pt x="1457" y="889"/>
                  <a:pt x="1457" y="874"/>
                </a:cubicBezTo>
                <a:cubicBezTo>
                  <a:pt x="1457" y="861"/>
                  <a:pt x="1457" y="861"/>
                  <a:pt x="1457" y="861"/>
                </a:cubicBezTo>
                <a:cubicBezTo>
                  <a:pt x="1457" y="845"/>
                  <a:pt x="1449" y="823"/>
                  <a:pt x="1439" y="811"/>
                </a:cubicBezTo>
                <a:cubicBezTo>
                  <a:pt x="1303" y="652"/>
                  <a:pt x="1303" y="652"/>
                  <a:pt x="1303" y="652"/>
                </a:cubicBezTo>
                <a:cubicBezTo>
                  <a:pt x="1293" y="640"/>
                  <a:pt x="1273" y="631"/>
                  <a:pt x="1257" y="631"/>
                </a:cubicBezTo>
                <a:cubicBezTo>
                  <a:pt x="577" y="631"/>
                  <a:pt x="577" y="631"/>
                  <a:pt x="577" y="631"/>
                </a:cubicBezTo>
                <a:cubicBezTo>
                  <a:pt x="561" y="631"/>
                  <a:pt x="540" y="640"/>
                  <a:pt x="530" y="652"/>
                </a:cubicBezTo>
                <a:cubicBezTo>
                  <a:pt x="395" y="811"/>
                  <a:pt x="395" y="811"/>
                  <a:pt x="395" y="811"/>
                </a:cubicBezTo>
                <a:cubicBezTo>
                  <a:pt x="385" y="823"/>
                  <a:pt x="377" y="845"/>
                  <a:pt x="377" y="861"/>
                </a:cubicBezTo>
                <a:cubicBezTo>
                  <a:pt x="377" y="874"/>
                  <a:pt x="377" y="874"/>
                  <a:pt x="377" y="874"/>
                </a:cubicBezTo>
                <a:cubicBezTo>
                  <a:pt x="377" y="889"/>
                  <a:pt x="389" y="902"/>
                  <a:pt x="405" y="902"/>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51" name="Freeform 24"/>
          <p:cNvSpPr>
            <a:spLocks noEditPoints="1"/>
          </p:cNvSpPr>
          <p:nvPr/>
        </p:nvSpPr>
        <p:spPr bwMode="black">
          <a:xfrm>
            <a:off x="919068" y="3904538"/>
            <a:ext cx="368284" cy="284463"/>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5"/>
          <p:cNvSpPr>
            <a:spLocks noEditPoints="1"/>
          </p:cNvSpPr>
          <p:nvPr/>
        </p:nvSpPr>
        <p:spPr bwMode="black">
          <a:xfrm>
            <a:off x="889963" y="2740682"/>
            <a:ext cx="393814" cy="335322"/>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256381649"/>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465901966"/>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custDataLst>
              <p:tags r:id="rId1"/>
            </p:custDataLst>
          </p:nvPr>
        </p:nvSpPr>
        <p:spPr bwMode="auto">
          <a:xfrm>
            <a:off x="381001" y="819152"/>
            <a:ext cx="8382000" cy="3165826"/>
          </a:xfrm>
          <a:prstGeom prst="rect">
            <a:avLst/>
          </a:prstGeom>
          <a:solidFill>
            <a:schemeClr val="bg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3" tIns="34292" rIns="68583" bIns="34292" numCol="1" rtlCol="0" anchor="t" anchorCtr="0" compatLnSpc="1">
            <a:prstTxWarp prst="textNoShape">
              <a:avLst/>
            </a:prstTxWarp>
          </a:bodyPr>
          <a:lstStyle/>
          <a:p>
            <a:pPr algn="ctr" defTabSz="685637" fontAlgn="base">
              <a:spcBef>
                <a:spcPct val="0"/>
              </a:spcBef>
              <a:spcAft>
                <a:spcPct val="0"/>
              </a:spcAft>
            </a:pPr>
            <a:endParaRPr lang="en-US" sz="2400" cap="all" dirty="0">
              <a:ln>
                <a:solidFill>
                  <a:schemeClr val="bg1">
                    <a:alpha val="0"/>
                  </a:schemeClr>
                </a:solidFill>
              </a:ln>
              <a:solidFill>
                <a:schemeClr val="tx1">
                  <a:alpha val="99000"/>
                </a:schemeClr>
              </a:solidFill>
              <a:latin typeface="Segoe UI Light" pitchFamily="34" charset="0"/>
            </a:endParaRPr>
          </a:p>
        </p:txBody>
      </p:sp>
      <p:sp>
        <p:nvSpPr>
          <p:cNvPr id="2" name="Title 1"/>
          <p:cNvSpPr>
            <a:spLocks noGrp="1"/>
          </p:cNvSpPr>
          <p:nvPr>
            <p:ph type="title"/>
          </p:nvPr>
        </p:nvSpPr>
        <p:spPr/>
        <p:txBody>
          <a:bodyPr/>
          <a:lstStyle/>
          <a:p>
            <a:r>
              <a:rPr lang="en-US" dirty="0" smtClean="0"/>
              <a:t>Images Available at Preview</a:t>
            </a:r>
            <a:endParaRPr lang="en-US" sz="2700" dirty="0">
              <a:solidFill>
                <a:schemeClr val="accent4">
                  <a:alpha val="99000"/>
                </a:schemeClr>
              </a:solidFill>
            </a:endParaRPr>
          </a:p>
        </p:txBody>
      </p:sp>
      <p:sp>
        <p:nvSpPr>
          <p:cNvPr id="5" name="Rectangle 4"/>
          <p:cNvSpPr/>
          <p:nvPr/>
        </p:nvSpPr>
        <p:spPr bwMode="auto">
          <a:xfrm>
            <a:off x="381001" y="819154"/>
            <a:ext cx="1503891" cy="1503891"/>
          </a:xfrm>
          <a:prstGeom prst="rect">
            <a:avLst/>
          </a:prstGeom>
          <a:solidFill>
            <a:schemeClr val="accent6">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14" name="Picture 13"/>
          <p:cNvPicPr>
            <a:picLocks noChangeAspect="1"/>
          </p:cNvPicPr>
          <p:nvPr/>
        </p:nvPicPr>
        <p:blipFill rotWithShape="1">
          <a:blip r:embed="rId4">
            <a:extLst>
              <a:ext uri="{BEBA8EAE-BF5A-486C-A8C5-ECC9F3942E4B}">
                <a14:imgProps xmlns:a14="http://schemas.microsoft.com/office/drawing/2010/main">
                  <a14:imgLayer r:embed="rId5">
                    <a14:imgEffect>
                      <a14:brightnessContrast bright="-74000"/>
                    </a14:imgEffect>
                  </a14:imgLayer>
                </a14:imgProps>
              </a:ext>
              <a:ext uri="{28A0092B-C50C-407E-A947-70E740481C1C}">
                <a14:useLocalDpi xmlns:a14="http://schemas.microsoft.com/office/drawing/2010/main" val="0"/>
              </a:ext>
            </a:extLst>
          </a:blip>
          <a:srcRect l="37477" b="28579"/>
          <a:stretch/>
        </p:blipFill>
        <p:spPr>
          <a:xfrm>
            <a:off x="634555" y="1157546"/>
            <a:ext cx="1036230" cy="827103"/>
          </a:xfrm>
          <a:prstGeom prst="rect">
            <a:avLst/>
          </a:prstGeom>
        </p:spPr>
      </p:pic>
      <p:sp>
        <p:nvSpPr>
          <p:cNvPr id="19" name="Rectangle 18"/>
          <p:cNvSpPr/>
          <p:nvPr/>
        </p:nvSpPr>
        <p:spPr bwMode="auto">
          <a:xfrm>
            <a:off x="389436" y="2481087"/>
            <a:ext cx="1503891" cy="1503891"/>
          </a:xfrm>
          <a:prstGeom prst="rect">
            <a:avLst/>
          </a:prstGeom>
          <a:solidFill>
            <a:schemeClr val="accent4">
              <a:lumMod val="40000"/>
              <a:lumOff val="6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p>
            <a:pPr algn="ctr" defTabSz="914099" fontAlgn="base">
              <a:spcBef>
                <a:spcPct val="0"/>
              </a:spcBef>
              <a:spcAft>
                <a:spcPct val="0"/>
              </a:spcAft>
            </a:pPr>
            <a:endParaRPr lang="en-US"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20" name="Picture 19"/>
          <p:cNvPicPr>
            <a:picLocks noChangeAspect="1"/>
          </p:cNvPicPr>
          <p:nvPr/>
        </p:nvPicPr>
        <p:blipFill>
          <a:blip r:embed="rId6" cstate="print">
            <a:duotone>
              <a:prstClr val="black"/>
              <a:srgbClr val="D9C3A5">
                <a:tint val="50000"/>
                <a:satMod val="180000"/>
              </a:srgbClr>
            </a:duotone>
            <a:extLst>
              <a:ext uri="{BEBA8EAE-BF5A-486C-A8C5-ECC9F3942E4B}">
                <a14:imgProps xmlns:a14="http://schemas.microsoft.com/office/drawing/2010/main">
                  <a14:imgLayer r:embed="rId7">
                    <a14:imgEffect>
                      <a14:artisticPhotocopy/>
                    </a14:imgEffect>
                    <a14:imgEffect>
                      <a14:colorTemperature colorTemp="6625"/>
                    </a14:imgEffect>
                    <a14:imgEffect>
                      <a14:saturation sat="25000"/>
                    </a14:imgEffect>
                    <a14:imgEffect>
                      <a14:brightnessContrast bright="-52000"/>
                    </a14:imgEffect>
                  </a14:imgLayer>
                </a14:imgProps>
              </a:ext>
              <a:ext uri="{28A0092B-C50C-407E-A947-70E740481C1C}">
                <a14:useLocalDpi xmlns:a14="http://schemas.microsoft.com/office/drawing/2010/main" val="0"/>
              </a:ext>
            </a:extLst>
          </a:blip>
          <a:stretch>
            <a:fillRect/>
          </a:stretch>
        </p:blipFill>
        <p:spPr>
          <a:xfrm>
            <a:off x="730843" y="2739828"/>
            <a:ext cx="821076" cy="963831"/>
          </a:xfrm>
          <a:prstGeom prst="rect">
            <a:avLst/>
          </a:prstGeom>
        </p:spPr>
      </p:pic>
      <p:sp>
        <p:nvSpPr>
          <p:cNvPr id="21" name="Rectangle 20"/>
          <p:cNvSpPr/>
          <p:nvPr/>
        </p:nvSpPr>
        <p:spPr bwMode="auto">
          <a:xfrm>
            <a:off x="1884892" y="819152"/>
            <a:ext cx="6868481" cy="1503893"/>
          </a:xfrm>
          <a:prstGeom prst="rect">
            <a:avLst/>
          </a:prstGeom>
          <a:solidFill>
            <a:srgbClr val="00B0F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45720" numCol="1" spcCol="0" rtlCol="0" fromWordArt="0" anchor="t" anchorCtr="0" forceAA="0" compatLnSpc="1">
            <a:prstTxWarp prst="textNoShape">
              <a:avLst/>
            </a:prstTxWarp>
            <a:noAutofit/>
          </a:bodyPr>
          <a:lstStyle/>
          <a:p>
            <a:pPr>
              <a:spcAft>
                <a:spcPts val="1200"/>
              </a:spcAft>
            </a:pPr>
            <a:r>
              <a:rPr lang="en-US" spc="-30" dirty="0">
                <a:solidFill>
                  <a:schemeClr val="bg1">
                    <a:alpha val="99000"/>
                  </a:schemeClr>
                </a:solidFill>
                <a:latin typeface="+mj-lt"/>
              </a:rPr>
              <a:t>Windows Server 2008 R2</a:t>
            </a:r>
          </a:p>
          <a:p>
            <a:pPr>
              <a:spcAft>
                <a:spcPts val="1200"/>
              </a:spcAft>
            </a:pPr>
            <a:r>
              <a:rPr lang="en-US" spc="-30" dirty="0">
                <a:solidFill>
                  <a:schemeClr val="bg1">
                    <a:alpha val="99000"/>
                  </a:schemeClr>
                </a:solidFill>
                <a:latin typeface="+mj-lt"/>
              </a:rPr>
              <a:t>Windows Server 2008 R2 </a:t>
            </a:r>
            <a:r>
              <a:rPr lang="en-US" spc="-30" dirty="0" smtClean="0">
                <a:solidFill>
                  <a:schemeClr val="bg1">
                    <a:alpha val="99000"/>
                  </a:schemeClr>
                </a:solidFill>
                <a:latin typeface="+mj-lt"/>
              </a:rPr>
              <a:t>with SQL </a:t>
            </a:r>
            <a:r>
              <a:rPr lang="en-US" spc="-30" dirty="0">
                <a:solidFill>
                  <a:schemeClr val="bg1">
                    <a:alpha val="99000"/>
                  </a:schemeClr>
                </a:solidFill>
                <a:latin typeface="+mj-lt"/>
              </a:rPr>
              <a:t>Server 2012 Evaluation</a:t>
            </a:r>
          </a:p>
          <a:p>
            <a:pPr>
              <a:spcAft>
                <a:spcPts val="1200"/>
              </a:spcAft>
            </a:pPr>
            <a:r>
              <a:rPr lang="en-US" spc="-30" dirty="0">
                <a:solidFill>
                  <a:schemeClr val="bg1">
                    <a:alpha val="99000"/>
                  </a:schemeClr>
                </a:solidFill>
                <a:latin typeface="+mj-lt"/>
              </a:rPr>
              <a:t>Windows </a:t>
            </a:r>
            <a:r>
              <a:rPr lang="en-US" spc="-30">
                <a:solidFill>
                  <a:schemeClr val="bg1">
                    <a:alpha val="99000"/>
                  </a:schemeClr>
                </a:solidFill>
                <a:latin typeface="+mj-lt"/>
              </a:rPr>
              <a:t>Server </a:t>
            </a:r>
            <a:r>
              <a:rPr lang="en-US" spc="-30" smtClean="0">
                <a:solidFill>
                  <a:schemeClr val="bg1">
                    <a:alpha val="99000"/>
                  </a:schemeClr>
                </a:solidFill>
                <a:latin typeface="+mj-lt"/>
              </a:rPr>
              <a:t>2012</a:t>
            </a:r>
            <a:endParaRPr lang="en-US" spc="-30" dirty="0">
              <a:solidFill>
                <a:schemeClr val="bg1">
                  <a:alpha val="99000"/>
                </a:schemeClr>
              </a:solidFill>
              <a:latin typeface="+mj-lt"/>
            </a:endParaRPr>
          </a:p>
        </p:txBody>
      </p:sp>
      <p:sp>
        <p:nvSpPr>
          <p:cNvPr id="22" name="Rectangle 21"/>
          <p:cNvSpPr/>
          <p:nvPr/>
        </p:nvSpPr>
        <p:spPr bwMode="auto">
          <a:xfrm>
            <a:off x="1893327" y="2481087"/>
            <a:ext cx="6869674" cy="1503891"/>
          </a:xfrm>
          <a:prstGeom prst="rect">
            <a:avLst/>
          </a:prstGeom>
          <a:solidFill>
            <a:srgbClr val="92D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0" bIns="45720" numCol="1" spcCol="0" rtlCol="0" fromWordArt="0" anchor="t" anchorCtr="0" forceAA="0" compatLnSpc="1">
            <a:prstTxWarp prst="textNoShape">
              <a:avLst/>
            </a:prstTxWarp>
            <a:noAutofit/>
          </a:bodyPr>
          <a:lstStyle/>
          <a:p>
            <a:pPr marL="0" lvl="1">
              <a:spcAft>
                <a:spcPts val="600"/>
              </a:spcAft>
            </a:pPr>
            <a:r>
              <a:rPr lang="en-US" spc="-30" dirty="0" err="1">
                <a:solidFill>
                  <a:schemeClr val="bg1">
                    <a:alpha val="99000"/>
                  </a:schemeClr>
                </a:solidFill>
                <a:latin typeface="+mj-lt"/>
              </a:rPr>
              <a:t>OpenSUSE</a:t>
            </a:r>
            <a:r>
              <a:rPr lang="en-US" spc="-30" dirty="0">
                <a:solidFill>
                  <a:schemeClr val="bg1">
                    <a:alpha val="99000"/>
                  </a:schemeClr>
                </a:solidFill>
                <a:latin typeface="+mj-lt"/>
              </a:rPr>
              <a:t> 12.1</a:t>
            </a:r>
          </a:p>
          <a:p>
            <a:pPr marL="0" lvl="1">
              <a:spcAft>
                <a:spcPts val="600"/>
              </a:spcAft>
            </a:pPr>
            <a:r>
              <a:rPr lang="en-US" spc="-30" dirty="0" err="1">
                <a:solidFill>
                  <a:schemeClr val="bg1">
                    <a:alpha val="99000"/>
                  </a:schemeClr>
                </a:solidFill>
                <a:latin typeface="+mj-lt"/>
              </a:rPr>
              <a:t>CentOS</a:t>
            </a:r>
            <a:r>
              <a:rPr lang="en-US" spc="-30" dirty="0">
                <a:solidFill>
                  <a:schemeClr val="bg1">
                    <a:alpha val="99000"/>
                  </a:schemeClr>
                </a:solidFill>
                <a:latin typeface="+mj-lt"/>
              </a:rPr>
              <a:t> 6.2 </a:t>
            </a:r>
            <a:r>
              <a:rPr lang="en-US" i="1" spc="-30" dirty="0">
                <a:solidFill>
                  <a:schemeClr val="bg1">
                    <a:alpha val="99000"/>
                  </a:schemeClr>
                </a:solidFill>
                <a:latin typeface="+mj-lt"/>
              </a:rPr>
              <a:t> </a:t>
            </a:r>
          </a:p>
          <a:p>
            <a:pPr marL="0" lvl="1">
              <a:spcAft>
                <a:spcPts val="600"/>
              </a:spcAft>
            </a:pPr>
            <a:r>
              <a:rPr lang="en-US" spc="-30" dirty="0">
                <a:solidFill>
                  <a:schemeClr val="bg1">
                    <a:alpha val="99000"/>
                  </a:schemeClr>
                </a:solidFill>
                <a:latin typeface="+mj-lt"/>
              </a:rPr>
              <a:t>Ubuntu 12.04</a:t>
            </a:r>
          </a:p>
          <a:p>
            <a:pPr marL="0" lvl="1">
              <a:spcAft>
                <a:spcPts val="600"/>
              </a:spcAft>
            </a:pPr>
            <a:r>
              <a:rPr lang="en-US" spc="-30" dirty="0">
                <a:solidFill>
                  <a:schemeClr val="bg1">
                    <a:alpha val="99000"/>
                  </a:schemeClr>
                </a:solidFill>
                <a:latin typeface="+mj-lt"/>
              </a:rPr>
              <a:t>SUSE Linux Enterprise Server SP2</a:t>
            </a:r>
          </a:p>
        </p:txBody>
      </p:sp>
    </p:spTree>
    <p:extLst>
      <p:ext uri="{BB962C8B-B14F-4D97-AF65-F5344CB8AC3E}">
        <p14:creationId xmlns:p14="http://schemas.microsoft.com/office/powerpoint/2010/main" val="834909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sz="6000" dirty="0"/>
              <a:t>Getting Started with VMs</a:t>
            </a:r>
          </a:p>
        </p:txBody>
      </p:sp>
    </p:spTree>
    <p:extLst>
      <p:ext uri="{BB962C8B-B14F-4D97-AF65-F5344CB8AC3E}">
        <p14:creationId xmlns:p14="http://schemas.microsoft.com/office/powerpoint/2010/main" val="170154072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3" name="Group 52"/>
          <p:cNvGrpSpPr/>
          <p:nvPr/>
        </p:nvGrpSpPr>
        <p:grpSpPr>
          <a:xfrm>
            <a:off x="6075135" y="828676"/>
            <a:ext cx="2687866" cy="3876674"/>
            <a:chOff x="6075135" y="828676"/>
            <a:chExt cx="2687866" cy="3876674"/>
          </a:xfrm>
        </p:grpSpPr>
        <p:sp>
          <p:nvSpPr>
            <p:cNvPr id="5" name="Rectangle 4"/>
            <p:cNvSpPr/>
            <p:nvPr/>
          </p:nvSpPr>
          <p:spPr bwMode="auto">
            <a:xfrm>
              <a:off x="6075135" y="828676"/>
              <a:ext cx="2687866" cy="752474"/>
            </a:xfrm>
            <a:prstGeom prst="rect">
              <a:avLst/>
            </a:prstGeom>
            <a:solidFill>
              <a:schemeClr val="accent6"/>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New Disk Persisted in Storage</a:t>
              </a:r>
            </a:p>
          </p:txBody>
        </p:sp>
        <p:sp>
          <p:nvSpPr>
            <p:cNvPr id="9" name="Rectangle 8"/>
            <p:cNvSpPr/>
            <p:nvPr/>
          </p:nvSpPr>
          <p:spPr bwMode="auto">
            <a:xfrm>
              <a:off x="6079210" y="1581150"/>
              <a:ext cx="2683791" cy="31242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6" name="Freeform 128"/>
            <p:cNvSpPr>
              <a:spLocks noChangeAspect="1"/>
            </p:cNvSpPr>
            <p:nvPr/>
          </p:nvSpPr>
          <p:spPr bwMode="black">
            <a:xfrm>
              <a:off x="6172200" y="2469747"/>
              <a:ext cx="2438400" cy="134700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8" name="Can 47"/>
            <p:cNvSpPr/>
            <p:nvPr>
              <p:custDataLst>
                <p:tags r:id="rId1"/>
              </p:custDataLst>
            </p:nvPr>
          </p:nvSpPr>
          <p:spPr>
            <a:xfrm>
              <a:off x="6317980" y="2876550"/>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sp>
          <p:nvSpPr>
            <p:cNvPr id="51" name="TextBox 50"/>
            <p:cNvSpPr txBox="1"/>
            <p:nvPr/>
          </p:nvSpPr>
          <p:spPr>
            <a:xfrm>
              <a:off x="6232386" y="3836252"/>
              <a:ext cx="234177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r>
                <a:rPr lang="en-US" sz="1600" dirty="0">
                  <a:solidFill>
                    <a:schemeClr val="accent6">
                      <a:alpha val="99000"/>
                    </a:schemeClr>
                  </a:solidFill>
                  <a:latin typeface="+mn-lt"/>
                </a:rPr>
                <a:t>Cloud</a:t>
              </a:r>
            </a:p>
          </p:txBody>
        </p:sp>
      </p:grpSp>
      <p:sp>
        <p:nvSpPr>
          <p:cNvPr id="2" name="Title 1"/>
          <p:cNvSpPr>
            <a:spLocks noGrp="1"/>
          </p:cNvSpPr>
          <p:nvPr>
            <p:ph type="title"/>
          </p:nvPr>
        </p:nvSpPr>
        <p:spPr>
          <a:xfrm>
            <a:off x="381001" y="78857"/>
            <a:ext cx="8363938" cy="567848"/>
          </a:xfrm>
        </p:spPr>
        <p:txBody>
          <a:bodyPr/>
          <a:lstStyle/>
          <a:p>
            <a:r>
              <a:rPr lang="en-US" dirty="0"/>
              <a:t>Cloud First Provisioning</a:t>
            </a:r>
          </a:p>
        </p:txBody>
      </p:sp>
      <p:sp>
        <p:nvSpPr>
          <p:cNvPr id="4" name="Rectangle 3"/>
          <p:cNvSpPr/>
          <p:nvPr/>
        </p:nvSpPr>
        <p:spPr bwMode="auto">
          <a:xfrm>
            <a:off x="3232423" y="828676"/>
            <a:ext cx="2687866" cy="752474"/>
          </a:xfrm>
          <a:prstGeom prst="rect">
            <a:avLst/>
          </a:prstGeom>
          <a:solidFill>
            <a:schemeClr val="tx2"/>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Select Image </a:t>
            </a:r>
            <a:b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b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and VM Size</a:t>
            </a:r>
          </a:p>
        </p:txBody>
      </p:sp>
      <p:sp>
        <p:nvSpPr>
          <p:cNvPr id="8" name="Rectangle 7"/>
          <p:cNvSpPr/>
          <p:nvPr/>
        </p:nvSpPr>
        <p:spPr bwMode="auto">
          <a:xfrm>
            <a:off x="3232143" y="1581150"/>
            <a:ext cx="2683791" cy="3124200"/>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4" name="Group 43"/>
          <p:cNvGrpSpPr/>
          <p:nvPr/>
        </p:nvGrpSpPr>
        <p:grpSpPr>
          <a:xfrm>
            <a:off x="381001" y="828676"/>
            <a:ext cx="2687866" cy="3876674"/>
            <a:chOff x="381001" y="828676"/>
            <a:chExt cx="2687866" cy="3876674"/>
          </a:xfrm>
        </p:grpSpPr>
        <p:sp>
          <p:nvSpPr>
            <p:cNvPr id="3" name="Rectangle 2"/>
            <p:cNvSpPr/>
            <p:nvPr/>
          </p:nvSpPr>
          <p:spPr bwMode="auto">
            <a:xfrm>
              <a:off x="381001" y="828676"/>
              <a:ext cx="2687866" cy="752474"/>
            </a:xfrm>
            <a:prstGeom prst="rect">
              <a:avLst/>
            </a:prstGeom>
            <a:solidFill>
              <a:schemeClr val="accent4"/>
            </a:solid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lvl="0">
                <a:lnSpc>
                  <a:spcPct val="90000"/>
                </a:lnSpc>
                <a:buSzPct val="90000"/>
                <a:defRPr/>
              </a:pPr>
              <a:r>
                <a:rPr lang="en-US" sz="2200" kern="0" dirty="0">
                  <a:gradFill>
                    <a:gsLst>
                      <a:gs pos="85000">
                        <a:srgbClr val="FFFFFF"/>
                      </a:gs>
                      <a:gs pos="0">
                        <a:srgbClr val="FFFFFF"/>
                      </a:gs>
                    </a:gsLst>
                    <a:lin ang="5400000" scaled="0"/>
                  </a:gradFill>
                  <a:latin typeface="Segoe UI Light" pitchFamily="34" charset="0"/>
                  <a:ea typeface="Segoe UI" pitchFamily="34" charset="0"/>
                  <a:cs typeface="Segoe UI" pitchFamily="34" charset="0"/>
                </a:rPr>
                <a:t>Getting Started</a:t>
              </a:r>
            </a:p>
          </p:txBody>
        </p:sp>
        <p:sp>
          <p:nvSpPr>
            <p:cNvPr id="7" name="Rectangle 6"/>
            <p:cNvSpPr/>
            <p:nvPr/>
          </p:nvSpPr>
          <p:spPr bwMode="auto">
            <a:xfrm>
              <a:off x="385076" y="1581150"/>
              <a:ext cx="2683791" cy="3124200"/>
            </a:xfrm>
            <a:prstGeom prst="rect">
              <a:avLst/>
            </a:prstGeom>
            <a:solidFill>
              <a:schemeClr val="accent4">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grpSp>
          <p:nvGrpSpPr>
            <p:cNvPr id="43" name="Group 42"/>
            <p:cNvGrpSpPr/>
            <p:nvPr/>
          </p:nvGrpSpPr>
          <p:grpSpPr>
            <a:xfrm>
              <a:off x="469671" y="1675058"/>
              <a:ext cx="2514600" cy="818903"/>
              <a:chOff x="469671" y="1675058"/>
              <a:chExt cx="2514600" cy="818903"/>
            </a:xfrm>
          </p:grpSpPr>
          <p:grpSp>
            <p:nvGrpSpPr>
              <p:cNvPr id="32" name="Group 31"/>
              <p:cNvGrpSpPr/>
              <p:nvPr/>
            </p:nvGrpSpPr>
            <p:grpSpPr>
              <a:xfrm>
                <a:off x="1420483" y="1675058"/>
                <a:ext cx="612976" cy="515692"/>
                <a:chOff x="1447800" y="1796832"/>
                <a:chExt cx="990599" cy="833383"/>
              </a:xfrm>
            </p:grpSpPr>
            <p:pic>
              <p:nvPicPr>
                <p:cNvPr id="6147" name="Picture 3"/>
                <p:cNvPicPr>
                  <a:picLocks noChangeAspect="1" noChangeArrowheads="1"/>
                </p:cNvPicPr>
                <p:nvPr/>
              </p:nvPicPr>
              <p:blipFill rotWithShape="1">
                <a:blip r:embed="rId4" cstate="print">
                  <a:duotone>
                    <a:schemeClr val="accent4">
                      <a:shade val="45000"/>
                      <a:satMod val="135000"/>
                    </a:schemeClr>
                    <a:prstClr val="white"/>
                  </a:duotone>
                  <a:extLst>
                    <a:ext uri="{28A0092B-C50C-407E-A947-70E740481C1C}">
                      <a14:useLocalDpi xmlns:a14="http://schemas.microsoft.com/office/drawing/2010/main" val="0"/>
                    </a:ext>
                  </a:extLst>
                </a:blip>
                <a:srcRect r="28326"/>
                <a:stretch/>
              </p:blipFill>
              <p:spPr bwMode="auto">
                <a:xfrm>
                  <a:off x="1447800" y="1796832"/>
                  <a:ext cx="990599" cy="8333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6" name="Freeform 10"/>
                <p:cNvSpPr>
                  <a:spLocks noEditPoints="1"/>
                </p:cNvSpPr>
                <p:nvPr/>
              </p:nvSpPr>
              <p:spPr bwMode="black">
                <a:xfrm>
                  <a:off x="1639899" y="1962150"/>
                  <a:ext cx="606400" cy="362999"/>
                </a:xfrm>
                <a:custGeom>
                  <a:avLst/>
                  <a:gdLst>
                    <a:gd name="T0" fmla="*/ 401 w 672"/>
                    <a:gd name="T1" fmla="*/ 114 h 402"/>
                    <a:gd name="T2" fmla="*/ 545 w 672"/>
                    <a:gd name="T3" fmla="*/ 258 h 402"/>
                    <a:gd name="T4" fmla="*/ 401 w 672"/>
                    <a:gd name="T5" fmla="*/ 402 h 402"/>
                    <a:gd name="T6" fmla="*/ 401 w 672"/>
                    <a:gd name="T7" fmla="*/ 402 h 402"/>
                    <a:gd name="T8" fmla="*/ 401 w 672"/>
                    <a:gd name="T9" fmla="*/ 402 h 402"/>
                    <a:gd name="T10" fmla="*/ 96 w 672"/>
                    <a:gd name="T11" fmla="*/ 402 h 402"/>
                    <a:gd name="T12" fmla="*/ 96 w 672"/>
                    <a:gd name="T13" fmla="*/ 402 h 402"/>
                    <a:gd name="T14" fmla="*/ 90 w 672"/>
                    <a:gd name="T15" fmla="*/ 402 h 402"/>
                    <a:gd name="T16" fmla="*/ 90 w 672"/>
                    <a:gd name="T17" fmla="*/ 402 h 402"/>
                    <a:gd name="T18" fmla="*/ 89 w 672"/>
                    <a:gd name="T19" fmla="*/ 402 h 402"/>
                    <a:gd name="T20" fmla="*/ 0 w 672"/>
                    <a:gd name="T21" fmla="*/ 314 h 402"/>
                    <a:gd name="T22" fmla="*/ 89 w 672"/>
                    <a:gd name="T23" fmla="*/ 225 h 402"/>
                    <a:gd name="T24" fmla="*/ 124 w 672"/>
                    <a:gd name="T25" fmla="*/ 233 h 402"/>
                    <a:gd name="T26" fmla="*/ 226 w 672"/>
                    <a:gd name="T27" fmla="*/ 171 h 402"/>
                    <a:gd name="T28" fmla="*/ 278 w 672"/>
                    <a:gd name="T29" fmla="*/ 184 h 402"/>
                    <a:gd name="T30" fmla="*/ 401 w 672"/>
                    <a:gd name="T31" fmla="*/ 114 h 402"/>
                    <a:gd name="T32" fmla="*/ 544 w 672"/>
                    <a:gd name="T33" fmla="*/ 0 h 402"/>
                    <a:gd name="T34" fmla="*/ 672 w 672"/>
                    <a:gd name="T35" fmla="*/ 128 h 402"/>
                    <a:gd name="T36" fmla="*/ 557 w 672"/>
                    <a:gd name="T37" fmla="*/ 255 h 402"/>
                    <a:gd name="T38" fmla="*/ 557 w 672"/>
                    <a:gd name="T39" fmla="*/ 253 h 402"/>
                    <a:gd name="T40" fmla="*/ 403 w 672"/>
                    <a:gd name="T41" fmla="*/ 100 h 402"/>
                    <a:gd name="T42" fmla="*/ 273 w 672"/>
                    <a:gd name="T43" fmla="*/ 171 h 402"/>
                    <a:gd name="T44" fmla="*/ 229 w 672"/>
                    <a:gd name="T45" fmla="*/ 159 h 402"/>
                    <a:gd name="T46" fmla="*/ 192 w 672"/>
                    <a:gd name="T47" fmla="*/ 168 h 402"/>
                    <a:gd name="T48" fmla="*/ 265 w 672"/>
                    <a:gd name="T49" fmla="*/ 104 h 402"/>
                    <a:gd name="T50" fmla="*/ 295 w 672"/>
                    <a:gd name="T51" fmla="*/ 111 h 402"/>
                    <a:gd name="T52" fmla="*/ 387 w 672"/>
                    <a:gd name="T53" fmla="*/ 53 h 402"/>
                    <a:gd name="T54" fmla="*/ 433 w 672"/>
                    <a:gd name="T55" fmla="*/ 65 h 402"/>
                    <a:gd name="T56" fmla="*/ 544 w 672"/>
                    <a:gd name="T57" fmla="*/ 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72" h="402">
                      <a:moveTo>
                        <a:pt x="401" y="114"/>
                      </a:moveTo>
                      <a:cubicBezTo>
                        <a:pt x="481" y="114"/>
                        <a:pt x="545" y="178"/>
                        <a:pt x="545" y="258"/>
                      </a:cubicBezTo>
                      <a:cubicBezTo>
                        <a:pt x="545" y="338"/>
                        <a:pt x="481" y="402"/>
                        <a:pt x="401" y="402"/>
                      </a:cubicBezTo>
                      <a:cubicBezTo>
                        <a:pt x="401" y="402"/>
                        <a:pt x="401" y="402"/>
                        <a:pt x="401" y="402"/>
                      </a:cubicBezTo>
                      <a:cubicBezTo>
                        <a:pt x="401" y="402"/>
                        <a:pt x="401" y="402"/>
                        <a:pt x="401" y="402"/>
                      </a:cubicBezTo>
                      <a:cubicBezTo>
                        <a:pt x="96" y="402"/>
                        <a:pt x="96" y="402"/>
                        <a:pt x="96" y="402"/>
                      </a:cubicBezTo>
                      <a:cubicBezTo>
                        <a:pt x="96" y="402"/>
                        <a:pt x="96" y="402"/>
                        <a:pt x="96" y="402"/>
                      </a:cubicBezTo>
                      <a:cubicBezTo>
                        <a:pt x="90" y="402"/>
                        <a:pt x="90" y="402"/>
                        <a:pt x="90" y="402"/>
                      </a:cubicBezTo>
                      <a:cubicBezTo>
                        <a:pt x="90" y="402"/>
                        <a:pt x="90" y="402"/>
                        <a:pt x="90" y="402"/>
                      </a:cubicBezTo>
                      <a:cubicBezTo>
                        <a:pt x="90" y="402"/>
                        <a:pt x="89" y="402"/>
                        <a:pt x="89" y="402"/>
                      </a:cubicBezTo>
                      <a:cubicBezTo>
                        <a:pt x="40" y="402"/>
                        <a:pt x="0" y="363"/>
                        <a:pt x="0" y="314"/>
                      </a:cubicBezTo>
                      <a:cubicBezTo>
                        <a:pt x="0" y="265"/>
                        <a:pt x="40" y="225"/>
                        <a:pt x="89" y="225"/>
                      </a:cubicBezTo>
                      <a:cubicBezTo>
                        <a:pt x="102" y="225"/>
                        <a:pt x="114" y="228"/>
                        <a:pt x="124" y="233"/>
                      </a:cubicBezTo>
                      <a:cubicBezTo>
                        <a:pt x="143" y="196"/>
                        <a:pt x="181" y="171"/>
                        <a:pt x="226" y="171"/>
                      </a:cubicBezTo>
                      <a:cubicBezTo>
                        <a:pt x="244" y="171"/>
                        <a:pt x="262" y="176"/>
                        <a:pt x="278" y="184"/>
                      </a:cubicBezTo>
                      <a:cubicBezTo>
                        <a:pt x="303" y="142"/>
                        <a:pt x="349" y="114"/>
                        <a:pt x="401" y="114"/>
                      </a:cubicBezTo>
                      <a:close/>
                      <a:moveTo>
                        <a:pt x="544" y="0"/>
                      </a:moveTo>
                      <a:cubicBezTo>
                        <a:pt x="615" y="0"/>
                        <a:pt x="672" y="57"/>
                        <a:pt x="672" y="128"/>
                      </a:cubicBezTo>
                      <a:cubicBezTo>
                        <a:pt x="672" y="194"/>
                        <a:pt x="622" y="249"/>
                        <a:pt x="557" y="255"/>
                      </a:cubicBezTo>
                      <a:cubicBezTo>
                        <a:pt x="557" y="253"/>
                        <a:pt x="557" y="253"/>
                        <a:pt x="557" y="253"/>
                      </a:cubicBezTo>
                      <a:cubicBezTo>
                        <a:pt x="557" y="168"/>
                        <a:pt x="488" y="100"/>
                        <a:pt x="403" y="100"/>
                      </a:cubicBezTo>
                      <a:cubicBezTo>
                        <a:pt x="348" y="100"/>
                        <a:pt x="300" y="128"/>
                        <a:pt x="273" y="171"/>
                      </a:cubicBezTo>
                      <a:cubicBezTo>
                        <a:pt x="260" y="163"/>
                        <a:pt x="245" y="159"/>
                        <a:pt x="229" y="159"/>
                      </a:cubicBezTo>
                      <a:cubicBezTo>
                        <a:pt x="216" y="159"/>
                        <a:pt x="203" y="162"/>
                        <a:pt x="192" y="168"/>
                      </a:cubicBezTo>
                      <a:cubicBezTo>
                        <a:pt x="196" y="132"/>
                        <a:pt x="227" y="104"/>
                        <a:pt x="265" y="104"/>
                      </a:cubicBezTo>
                      <a:cubicBezTo>
                        <a:pt x="275" y="104"/>
                        <a:pt x="286" y="106"/>
                        <a:pt x="295" y="111"/>
                      </a:cubicBezTo>
                      <a:cubicBezTo>
                        <a:pt x="311" y="77"/>
                        <a:pt x="346" y="53"/>
                        <a:pt x="387" y="53"/>
                      </a:cubicBezTo>
                      <a:cubicBezTo>
                        <a:pt x="403" y="53"/>
                        <a:pt x="419" y="57"/>
                        <a:pt x="433" y="65"/>
                      </a:cubicBezTo>
                      <a:cubicBezTo>
                        <a:pt x="455" y="26"/>
                        <a:pt x="496" y="0"/>
                        <a:pt x="544" y="0"/>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grpSp>
          <p:sp>
            <p:nvSpPr>
              <p:cNvPr id="38" name="TextBox 37"/>
              <p:cNvSpPr txBox="1"/>
              <p:nvPr/>
            </p:nvSpPr>
            <p:spPr>
              <a:xfrm>
                <a:off x="469671" y="2200793"/>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Management Portal</a:t>
                </a:r>
              </a:p>
            </p:txBody>
          </p:sp>
        </p:grpSp>
        <p:grpSp>
          <p:nvGrpSpPr>
            <p:cNvPr id="37" name="Group 36"/>
            <p:cNvGrpSpPr/>
            <p:nvPr/>
          </p:nvGrpSpPr>
          <p:grpSpPr>
            <a:xfrm>
              <a:off x="486561" y="2802831"/>
              <a:ext cx="2514600" cy="822285"/>
              <a:chOff x="486561" y="2842012"/>
              <a:chExt cx="2514600" cy="822285"/>
            </a:xfrm>
          </p:grpSpPr>
          <p:sp>
            <p:nvSpPr>
              <p:cNvPr id="35" name="Rectangle 34"/>
              <p:cNvSpPr/>
              <p:nvPr/>
            </p:nvSpPr>
            <p:spPr bwMode="auto">
              <a:xfrm>
                <a:off x="1503570" y="2842012"/>
                <a:ext cx="446804" cy="44680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0" rIns="0" bIns="0" numCol="1" rtlCol="0" anchor="ctr" anchorCtr="0" compatLnSpc="1">
                <a:prstTxWarp prst="textNoShape">
                  <a:avLst/>
                </a:prstTxWarp>
              </a:bodyPr>
              <a:lstStyle/>
              <a:p>
                <a:pPr algn="ctr" defTabSz="913947" fontAlgn="base">
                  <a:spcBef>
                    <a:spcPct val="0"/>
                  </a:spcBef>
                  <a:spcAft>
                    <a:spcPct val="0"/>
                  </a:spcAft>
                </a:pPr>
                <a:r>
                  <a:rPr lang="en-US" sz="2800" dirty="0">
                    <a:solidFill>
                      <a:schemeClr val="accent4">
                        <a:lumMod val="20000"/>
                        <a:lumOff val="80000"/>
                      </a:schemeClr>
                    </a:solidFill>
                  </a:rPr>
                  <a:t>&gt;_</a:t>
                </a:r>
              </a:p>
            </p:txBody>
          </p:sp>
          <p:sp>
            <p:nvSpPr>
              <p:cNvPr id="40" name="TextBox 39"/>
              <p:cNvSpPr txBox="1"/>
              <p:nvPr/>
            </p:nvSpPr>
            <p:spPr>
              <a:xfrm>
                <a:off x="486561" y="3371129"/>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Scripting </a:t>
                </a:r>
              </a:p>
              <a:p>
                <a:pPr algn="ctr"/>
                <a:r>
                  <a:rPr lang="en-US" sz="1200" dirty="0">
                    <a:solidFill>
                      <a:schemeClr val="tx2">
                        <a:alpha val="99000"/>
                      </a:schemeClr>
                    </a:solidFill>
                    <a:latin typeface="+mn-lt"/>
                  </a:rPr>
                  <a:t>(Windows, Linux and Mac) </a:t>
                </a:r>
              </a:p>
            </p:txBody>
          </p:sp>
        </p:grpSp>
        <p:grpSp>
          <p:nvGrpSpPr>
            <p:cNvPr id="39" name="Group 38"/>
            <p:cNvGrpSpPr/>
            <p:nvPr/>
          </p:nvGrpSpPr>
          <p:grpSpPr>
            <a:xfrm>
              <a:off x="490300" y="3933987"/>
              <a:ext cx="2514600" cy="723863"/>
              <a:chOff x="490300" y="3933987"/>
              <a:chExt cx="2514600" cy="723863"/>
            </a:xfrm>
          </p:grpSpPr>
          <p:sp>
            <p:nvSpPr>
              <p:cNvPr id="41" name="Freeform 87"/>
              <p:cNvSpPr>
                <a:spLocks noEditPoints="1"/>
              </p:cNvSpPr>
              <p:nvPr/>
            </p:nvSpPr>
            <p:spPr bwMode="black">
              <a:xfrm>
                <a:off x="1507374" y="3933987"/>
                <a:ext cx="480452" cy="390866"/>
              </a:xfrm>
              <a:custGeom>
                <a:avLst/>
                <a:gdLst>
                  <a:gd name="T0" fmla="*/ 478 w 667"/>
                  <a:gd name="T1" fmla="*/ 242 h 543"/>
                  <a:gd name="T2" fmla="*/ 398 w 667"/>
                  <a:gd name="T3" fmla="*/ 228 h 543"/>
                  <a:gd name="T4" fmla="*/ 420 w 667"/>
                  <a:gd name="T5" fmla="*/ 150 h 543"/>
                  <a:gd name="T6" fmla="*/ 382 w 667"/>
                  <a:gd name="T7" fmla="*/ 107 h 543"/>
                  <a:gd name="T8" fmla="*/ 312 w 667"/>
                  <a:gd name="T9" fmla="*/ 149 h 543"/>
                  <a:gd name="T10" fmla="*/ 278 w 667"/>
                  <a:gd name="T11" fmla="*/ 64 h 543"/>
                  <a:gd name="T12" fmla="*/ 220 w 667"/>
                  <a:gd name="T13" fmla="*/ 54 h 543"/>
                  <a:gd name="T14" fmla="*/ 192 w 667"/>
                  <a:gd name="T15" fmla="*/ 142 h 543"/>
                  <a:gd name="T16" fmla="*/ 120 w 667"/>
                  <a:gd name="T17" fmla="*/ 105 h 543"/>
                  <a:gd name="T18" fmla="*/ 70 w 667"/>
                  <a:gd name="T19" fmla="*/ 135 h 543"/>
                  <a:gd name="T20" fmla="*/ 98 w 667"/>
                  <a:gd name="T21" fmla="*/ 212 h 543"/>
                  <a:gd name="T22" fmla="*/ 20 w 667"/>
                  <a:gd name="T23" fmla="*/ 232 h 543"/>
                  <a:gd name="T24" fmla="*/ 0 w 667"/>
                  <a:gd name="T25" fmla="*/ 287 h 543"/>
                  <a:gd name="T26" fmla="*/ 72 w 667"/>
                  <a:gd name="T27" fmla="*/ 327 h 543"/>
                  <a:gd name="T28" fmla="*/ 23 w 667"/>
                  <a:gd name="T29" fmla="*/ 393 h 543"/>
                  <a:gd name="T30" fmla="*/ 45 w 667"/>
                  <a:gd name="T31" fmla="*/ 448 h 543"/>
                  <a:gd name="T32" fmla="*/ 125 w 667"/>
                  <a:gd name="T33" fmla="*/ 431 h 543"/>
                  <a:gd name="T34" fmla="*/ 132 w 667"/>
                  <a:gd name="T35" fmla="*/ 513 h 543"/>
                  <a:gd name="T36" fmla="*/ 182 w 667"/>
                  <a:gd name="T37" fmla="*/ 541 h 543"/>
                  <a:gd name="T38" fmla="*/ 233 w 667"/>
                  <a:gd name="T39" fmla="*/ 478 h 543"/>
                  <a:gd name="T40" fmla="*/ 253 w 667"/>
                  <a:gd name="T41" fmla="*/ 478 h 543"/>
                  <a:gd name="T42" fmla="*/ 305 w 667"/>
                  <a:gd name="T43" fmla="*/ 541 h 543"/>
                  <a:gd name="T44" fmla="*/ 355 w 667"/>
                  <a:gd name="T45" fmla="*/ 513 h 543"/>
                  <a:gd name="T46" fmla="*/ 362 w 667"/>
                  <a:gd name="T47" fmla="*/ 431 h 543"/>
                  <a:gd name="T48" fmla="*/ 442 w 667"/>
                  <a:gd name="T49" fmla="*/ 448 h 543"/>
                  <a:gd name="T50" fmla="*/ 463 w 667"/>
                  <a:gd name="T51" fmla="*/ 393 h 543"/>
                  <a:gd name="T52" fmla="*/ 415 w 667"/>
                  <a:gd name="T53" fmla="*/ 327 h 543"/>
                  <a:gd name="T54" fmla="*/ 487 w 667"/>
                  <a:gd name="T55" fmla="*/ 287 h 543"/>
                  <a:gd name="T56" fmla="*/ 312 w 667"/>
                  <a:gd name="T57" fmla="*/ 375 h 543"/>
                  <a:gd name="T58" fmla="*/ 175 w 667"/>
                  <a:gd name="T59" fmla="*/ 375 h 543"/>
                  <a:gd name="T60" fmla="*/ 175 w 667"/>
                  <a:gd name="T61" fmla="*/ 238 h 543"/>
                  <a:gd name="T62" fmla="*/ 312 w 667"/>
                  <a:gd name="T63" fmla="*/ 238 h 543"/>
                  <a:gd name="T64" fmla="*/ 198 w 667"/>
                  <a:gd name="T65" fmla="*/ 306 h 543"/>
                  <a:gd name="T66" fmla="*/ 288 w 667"/>
                  <a:gd name="T67" fmla="*/ 306 h 543"/>
                  <a:gd name="T68" fmla="*/ 198 w 667"/>
                  <a:gd name="T69" fmla="*/ 306 h 543"/>
                  <a:gd name="T70" fmla="*/ 638 w 667"/>
                  <a:gd name="T71" fmla="*/ 133 h 543"/>
                  <a:gd name="T72" fmla="*/ 662 w 667"/>
                  <a:gd name="T73" fmla="*/ 92 h 543"/>
                  <a:gd name="T74" fmla="*/ 665 w 667"/>
                  <a:gd name="T75" fmla="*/ 77 h 543"/>
                  <a:gd name="T76" fmla="*/ 642 w 667"/>
                  <a:gd name="T77" fmla="*/ 52 h 543"/>
                  <a:gd name="T78" fmla="*/ 605 w 667"/>
                  <a:gd name="T79" fmla="*/ 62 h 543"/>
                  <a:gd name="T80" fmla="*/ 566 w 667"/>
                  <a:gd name="T81" fmla="*/ 10 h 543"/>
                  <a:gd name="T82" fmla="*/ 531 w 667"/>
                  <a:gd name="T83" fmla="*/ 0 h 543"/>
                  <a:gd name="T84" fmla="*/ 511 w 667"/>
                  <a:gd name="T85" fmla="*/ 45 h 543"/>
                  <a:gd name="T86" fmla="*/ 446 w 667"/>
                  <a:gd name="T87" fmla="*/ 52 h 543"/>
                  <a:gd name="T88" fmla="*/ 432 w 667"/>
                  <a:gd name="T89" fmla="*/ 57 h 543"/>
                  <a:gd name="T90" fmla="*/ 419 w 667"/>
                  <a:gd name="T91" fmla="*/ 83 h 543"/>
                  <a:gd name="T92" fmla="*/ 451 w 667"/>
                  <a:gd name="T93" fmla="*/ 117 h 543"/>
                  <a:gd name="T94" fmla="*/ 451 w 667"/>
                  <a:gd name="T95" fmla="*/ 152 h 543"/>
                  <a:gd name="T96" fmla="*/ 419 w 667"/>
                  <a:gd name="T97" fmla="*/ 185 h 543"/>
                  <a:gd name="T98" fmla="*/ 432 w 667"/>
                  <a:gd name="T99" fmla="*/ 210 h 543"/>
                  <a:gd name="T100" fmla="*/ 446 w 667"/>
                  <a:gd name="T101" fmla="*/ 217 h 543"/>
                  <a:gd name="T102" fmla="*/ 511 w 667"/>
                  <a:gd name="T103" fmla="*/ 222 h 543"/>
                  <a:gd name="T104" fmla="*/ 531 w 667"/>
                  <a:gd name="T105" fmla="*/ 267 h 543"/>
                  <a:gd name="T106" fmla="*/ 566 w 667"/>
                  <a:gd name="T107" fmla="*/ 258 h 543"/>
                  <a:gd name="T108" fmla="*/ 605 w 667"/>
                  <a:gd name="T109" fmla="*/ 205 h 543"/>
                  <a:gd name="T110" fmla="*/ 642 w 667"/>
                  <a:gd name="T111" fmla="*/ 217 h 543"/>
                  <a:gd name="T112" fmla="*/ 665 w 667"/>
                  <a:gd name="T113" fmla="*/ 190 h 543"/>
                  <a:gd name="T114" fmla="*/ 662 w 667"/>
                  <a:gd name="T115" fmla="*/ 177 h 543"/>
                  <a:gd name="T116" fmla="*/ 635 w 667"/>
                  <a:gd name="T117" fmla="*/ 152 h 543"/>
                  <a:gd name="T118" fmla="*/ 543 w 667"/>
                  <a:gd name="T119" fmla="*/ 170 h 543"/>
                  <a:gd name="T120" fmla="*/ 543 w 667"/>
                  <a:gd name="T121" fmla="*/ 97 h 5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67" h="543">
                    <a:moveTo>
                      <a:pt x="487" y="287"/>
                    </a:moveTo>
                    <a:cubicBezTo>
                      <a:pt x="478" y="242"/>
                      <a:pt x="478" y="242"/>
                      <a:pt x="478" y="242"/>
                    </a:cubicBezTo>
                    <a:cubicBezTo>
                      <a:pt x="477" y="237"/>
                      <a:pt x="473" y="233"/>
                      <a:pt x="467" y="232"/>
                    </a:cubicBezTo>
                    <a:cubicBezTo>
                      <a:pt x="398" y="228"/>
                      <a:pt x="398" y="228"/>
                      <a:pt x="398" y="228"/>
                    </a:cubicBezTo>
                    <a:cubicBezTo>
                      <a:pt x="395" y="223"/>
                      <a:pt x="392" y="217"/>
                      <a:pt x="388" y="212"/>
                    </a:cubicBezTo>
                    <a:cubicBezTo>
                      <a:pt x="420" y="150"/>
                      <a:pt x="420" y="150"/>
                      <a:pt x="420" y="150"/>
                    </a:cubicBezTo>
                    <a:cubicBezTo>
                      <a:pt x="423" y="145"/>
                      <a:pt x="422" y="139"/>
                      <a:pt x="417" y="135"/>
                    </a:cubicBezTo>
                    <a:cubicBezTo>
                      <a:pt x="382" y="107"/>
                      <a:pt x="382" y="107"/>
                      <a:pt x="382" y="107"/>
                    </a:cubicBezTo>
                    <a:cubicBezTo>
                      <a:pt x="378" y="102"/>
                      <a:pt x="372" y="102"/>
                      <a:pt x="367" y="105"/>
                    </a:cubicBezTo>
                    <a:cubicBezTo>
                      <a:pt x="312" y="149"/>
                      <a:pt x="312" y="149"/>
                      <a:pt x="312" y="149"/>
                    </a:cubicBezTo>
                    <a:cubicBezTo>
                      <a:pt x="307" y="145"/>
                      <a:pt x="302" y="144"/>
                      <a:pt x="295" y="142"/>
                    </a:cubicBezTo>
                    <a:cubicBezTo>
                      <a:pt x="278" y="64"/>
                      <a:pt x="278" y="64"/>
                      <a:pt x="278" y="64"/>
                    </a:cubicBezTo>
                    <a:cubicBezTo>
                      <a:pt x="277" y="59"/>
                      <a:pt x="272" y="54"/>
                      <a:pt x="267" y="54"/>
                    </a:cubicBezTo>
                    <a:cubicBezTo>
                      <a:pt x="220" y="54"/>
                      <a:pt x="220" y="54"/>
                      <a:pt x="220" y="54"/>
                    </a:cubicBezTo>
                    <a:cubicBezTo>
                      <a:pt x="215" y="54"/>
                      <a:pt x="210" y="59"/>
                      <a:pt x="208" y="64"/>
                    </a:cubicBezTo>
                    <a:cubicBezTo>
                      <a:pt x="192" y="142"/>
                      <a:pt x="192" y="142"/>
                      <a:pt x="192" y="142"/>
                    </a:cubicBezTo>
                    <a:cubicBezTo>
                      <a:pt x="185" y="144"/>
                      <a:pt x="180" y="145"/>
                      <a:pt x="175" y="149"/>
                    </a:cubicBezTo>
                    <a:cubicBezTo>
                      <a:pt x="120" y="105"/>
                      <a:pt x="120" y="105"/>
                      <a:pt x="120" y="105"/>
                    </a:cubicBezTo>
                    <a:cubicBezTo>
                      <a:pt x="115" y="102"/>
                      <a:pt x="108" y="102"/>
                      <a:pt x="105" y="105"/>
                    </a:cubicBezTo>
                    <a:cubicBezTo>
                      <a:pt x="70" y="135"/>
                      <a:pt x="70" y="135"/>
                      <a:pt x="70" y="135"/>
                    </a:cubicBezTo>
                    <a:cubicBezTo>
                      <a:pt x="65" y="139"/>
                      <a:pt x="65" y="145"/>
                      <a:pt x="67" y="150"/>
                    </a:cubicBezTo>
                    <a:cubicBezTo>
                      <a:pt x="98" y="212"/>
                      <a:pt x="98" y="212"/>
                      <a:pt x="98" y="212"/>
                    </a:cubicBezTo>
                    <a:cubicBezTo>
                      <a:pt x="95" y="217"/>
                      <a:pt x="92" y="223"/>
                      <a:pt x="88" y="228"/>
                    </a:cubicBezTo>
                    <a:cubicBezTo>
                      <a:pt x="20" y="232"/>
                      <a:pt x="20" y="232"/>
                      <a:pt x="20" y="232"/>
                    </a:cubicBezTo>
                    <a:cubicBezTo>
                      <a:pt x="13" y="232"/>
                      <a:pt x="10" y="237"/>
                      <a:pt x="8" y="242"/>
                    </a:cubicBezTo>
                    <a:cubicBezTo>
                      <a:pt x="0" y="287"/>
                      <a:pt x="0" y="287"/>
                      <a:pt x="0" y="287"/>
                    </a:cubicBezTo>
                    <a:cubicBezTo>
                      <a:pt x="0" y="292"/>
                      <a:pt x="2" y="298"/>
                      <a:pt x="7" y="300"/>
                    </a:cubicBezTo>
                    <a:cubicBezTo>
                      <a:pt x="72" y="327"/>
                      <a:pt x="72" y="327"/>
                      <a:pt x="72" y="327"/>
                    </a:cubicBezTo>
                    <a:cubicBezTo>
                      <a:pt x="73" y="333"/>
                      <a:pt x="73" y="340"/>
                      <a:pt x="75" y="347"/>
                    </a:cubicBezTo>
                    <a:cubicBezTo>
                      <a:pt x="23" y="393"/>
                      <a:pt x="23" y="393"/>
                      <a:pt x="23" y="393"/>
                    </a:cubicBezTo>
                    <a:cubicBezTo>
                      <a:pt x="20" y="397"/>
                      <a:pt x="18" y="403"/>
                      <a:pt x="22" y="408"/>
                    </a:cubicBezTo>
                    <a:cubicBezTo>
                      <a:pt x="45" y="448"/>
                      <a:pt x="45" y="448"/>
                      <a:pt x="45" y="448"/>
                    </a:cubicBezTo>
                    <a:cubicBezTo>
                      <a:pt x="47" y="451"/>
                      <a:pt x="53" y="455"/>
                      <a:pt x="58" y="453"/>
                    </a:cubicBezTo>
                    <a:cubicBezTo>
                      <a:pt x="125" y="431"/>
                      <a:pt x="125" y="431"/>
                      <a:pt x="125" y="431"/>
                    </a:cubicBezTo>
                    <a:cubicBezTo>
                      <a:pt x="130" y="436"/>
                      <a:pt x="135" y="441"/>
                      <a:pt x="140" y="445"/>
                    </a:cubicBezTo>
                    <a:cubicBezTo>
                      <a:pt x="132" y="513"/>
                      <a:pt x="132" y="513"/>
                      <a:pt x="132" y="513"/>
                    </a:cubicBezTo>
                    <a:cubicBezTo>
                      <a:pt x="130" y="520"/>
                      <a:pt x="133" y="525"/>
                      <a:pt x="138" y="526"/>
                    </a:cubicBezTo>
                    <a:cubicBezTo>
                      <a:pt x="182" y="541"/>
                      <a:pt x="182" y="541"/>
                      <a:pt x="182" y="541"/>
                    </a:cubicBezTo>
                    <a:cubicBezTo>
                      <a:pt x="187" y="543"/>
                      <a:pt x="193" y="541"/>
                      <a:pt x="197" y="538"/>
                    </a:cubicBezTo>
                    <a:cubicBezTo>
                      <a:pt x="233" y="478"/>
                      <a:pt x="233" y="478"/>
                      <a:pt x="233" y="478"/>
                    </a:cubicBezTo>
                    <a:cubicBezTo>
                      <a:pt x="237" y="478"/>
                      <a:pt x="240" y="480"/>
                      <a:pt x="243" y="480"/>
                    </a:cubicBezTo>
                    <a:cubicBezTo>
                      <a:pt x="247" y="480"/>
                      <a:pt x="250" y="478"/>
                      <a:pt x="253" y="478"/>
                    </a:cubicBezTo>
                    <a:cubicBezTo>
                      <a:pt x="290" y="538"/>
                      <a:pt x="290" y="538"/>
                      <a:pt x="290" y="538"/>
                    </a:cubicBezTo>
                    <a:cubicBezTo>
                      <a:pt x="293" y="541"/>
                      <a:pt x="300" y="543"/>
                      <a:pt x="305" y="541"/>
                    </a:cubicBezTo>
                    <a:cubicBezTo>
                      <a:pt x="348" y="526"/>
                      <a:pt x="348" y="526"/>
                      <a:pt x="348" y="526"/>
                    </a:cubicBezTo>
                    <a:cubicBezTo>
                      <a:pt x="353" y="525"/>
                      <a:pt x="357" y="520"/>
                      <a:pt x="355" y="513"/>
                    </a:cubicBezTo>
                    <a:cubicBezTo>
                      <a:pt x="347" y="445"/>
                      <a:pt x="347" y="445"/>
                      <a:pt x="347" y="445"/>
                    </a:cubicBezTo>
                    <a:cubicBezTo>
                      <a:pt x="352" y="440"/>
                      <a:pt x="357" y="436"/>
                      <a:pt x="362" y="431"/>
                    </a:cubicBezTo>
                    <a:cubicBezTo>
                      <a:pt x="428" y="453"/>
                      <a:pt x="428" y="453"/>
                      <a:pt x="428" y="453"/>
                    </a:cubicBezTo>
                    <a:cubicBezTo>
                      <a:pt x="433" y="455"/>
                      <a:pt x="440" y="451"/>
                      <a:pt x="442" y="448"/>
                    </a:cubicBezTo>
                    <a:cubicBezTo>
                      <a:pt x="465" y="408"/>
                      <a:pt x="465" y="408"/>
                      <a:pt x="465" y="408"/>
                    </a:cubicBezTo>
                    <a:cubicBezTo>
                      <a:pt x="468" y="403"/>
                      <a:pt x="467" y="397"/>
                      <a:pt x="463" y="393"/>
                    </a:cubicBezTo>
                    <a:cubicBezTo>
                      <a:pt x="412" y="347"/>
                      <a:pt x="412" y="347"/>
                      <a:pt x="412" y="347"/>
                    </a:cubicBezTo>
                    <a:cubicBezTo>
                      <a:pt x="413" y="340"/>
                      <a:pt x="413" y="333"/>
                      <a:pt x="415" y="327"/>
                    </a:cubicBezTo>
                    <a:cubicBezTo>
                      <a:pt x="480" y="300"/>
                      <a:pt x="480" y="300"/>
                      <a:pt x="480" y="300"/>
                    </a:cubicBezTo>
                    <a:cubicBezTo>
                      <a:pt x="485" y="298"/>
                      <a:pt x="487" y="293"/>
                      <a:pt x="487" y="287"/>
                    </a:cubicBezTo>
                    <a:close/>
                    <a:moveTo>
                      <a:pt x="340" y="307"/>
                    </a:moveTo>
                    <a:cubicBezTo>
                      <a:pt x="340" y="333"/>
                      <a:pt x="328" y="357"/>
                      <a:pt x="312" y="375"/>
                    </a:cubicBezTo>
                    <a:cubicBezTo>
                      <a:pt x="293" y="392"/>
                      <a:pt x="270" y="403"/>
                      <a:pt x="243" y="403"/>
                    </a:cubicBezTo>
                    <a:cubicBezTo>
                      <a:pt x="217" y="403"/>
                      <a:pt x="193" y="392"/>
                      <a:pt x="175" y="375"/>
                    </a:cubicBezTo>
                    <a:cubicBezTo>
                      <a:pt x="158" y="357"/>
                      <a:pt x="147" y="333"/>
                      <a:pt x="147" y="307"/>
                    </a:cubicBezTo>
                    <a:cubicBezTo>
                      <a:pt x="147" y="280"/>
                      <a:pt x="158" y="255"/>
                      <a:pt x="175" y="238"/>
                    </a:cubicBezTo>
                    <a:cubicBezTo>
                      <a:pt x="193" y="220"/>
                      <a:pt x="217" y="210"/>
                      <a:pt x="243" y="210"/>
                    </a:cubicBezTo>
                    <a:cubicBezTo>
                      <a:pt x="270" y="210"/>
                      <a:pt x="293" y="220"/>
                      <a:pt x="312" y="238"/>
                    </a:cubicBezTo>
                    <a:cubicBezTo>
                      <a:pt x="328" y="255"/>
                      <a:pt x="340" y="280"/>
                      <a:pt x="340" y="307"/>
                    </a:cubicBezTo>
                    <a:close/>
                    <a:moveTo>
                      <a:pt x="198" y="306"/>
                    </a:moveTo>
                    <a:cubicBezTo>
                      <a:pt x="198" y="281"/>
                      <a:pt x="218" y="261"/>
                      <a:pt x="243" y="261"/>
                    </a:cubicBezTo>
                    <a:cubicBezTo>
                      <a:pt x="268" y="261"/>
                      <a:pt x="288" y="281"/>
                      <a:pt x="288" y="306"/>
                    </a:cubicBezTo>
                    <a:cubicBezTo>
                      <a:pt x="288" y="331"/>
                      <a:pt x="268" y="351"/>
                      <a:pt x="243" y="351"/>
                    </a:cubicBezTo>
                    <a:cubicBezTo>
                      <a:pt x="218" y="351"/>
                      <a:pt x="198" y="331"/>
                      <a:pt x="198" y="306"/>
                    </a:cubicBezTo>
                    <a:close/>
                    <a:moveTo>
                      <a:pt x="635" y="152"/>
                    </a:moveTo>
                    <a:cubicBezTo>
                      <a:pt x="637" y="147"/>
                      <a:pt x="638" y="140"/>
                      <a:pt x="638" y="133"/>
                    </a:cubicBezTo>
                    <a:cubicBezTo>
                      <a:pt x="638" y="128"/>
                      <a:pt x="637" y="122"/>
                      <a:pt x="635" y="117"/>
                    </a:cubicBezTo>
                    <a:cubicBezTo>
                      <a:pt x="662" y="92"/>
                      <a:pt x="662" y="92"/>
                      <a:pt x="662" y="92"/>
                    </a:cubicBezTo>
                    <a:cubicBezTo>
                      <a:pt x="665" y="90"/>
                      <a:pt x="665" y="87"/>
                      <a:pt x="665" y="83"/>
                    </a:cubicBezTo>
                    <a:cubicBezTo>
                      <a:pt x="665" y="82"/>
                      <a:pt x="665" y="78"/>
                      <a:pt x="665" y="77"/>
                    </a:cubicBezTo>
                    <a:cubicBezTo>
                      <a:pt x="654" y="57"/>
                      <a:pt x="654" y="57"/>
                      <a:pt x="654" y="57"/>
                    </a:cubicBezTo>
                    <a:cubicBezTo>
                      <a:pt x="650" y="53"/>
                      <a:pt x="647" y="52"/>
                      <a:pt x="642" y="52"/>
                    </a:cubicBezTo>
                    <a:cubicBezTo>
                      <a:pt x="642" y="52"/>
                      <a:pt x="640" y="52"/>
                      <a:pt x="638" y="52"/>
                    </a:cubicBezTo>
                    <a:cubicBezTo>
                      <a:pt x="605" y="62"/>
                      <a:pt x="605" y="62"/>
                      <a:pt x="605" y="62"/>
                    </a:cubicBezTo>
                    <a:cubicBezTo>
                      <a:pt x="595" y="55"/>
                      <a:pt x="585" y="49"/>
                      <a:pt x="573" y="45"/>
                    </a:cubicBezTo>
                    <a:cubicBezTo>
                      <a:pt x="566" y="10"/>
                      <a:pt x="566" y="10"/>
                      <a:pt x="566" y="10"/>
                    </a:cubicBezTo>
                    <a:cubicBezTo>
                      <a:pt x="565" y="5"/>
                      <a:pt x="560" y="0"/>
                      <a:pt x="555" y="0"/>
                    </a:cubicBezTo>
                    <a:cubicBezTo>
                      <a:pt x="531" y="0"/>
                      <a:pt x="531" y="0"/>
                      <a:pt x="531" y="0"/>
                    </a:cubicBezTo>
                    <a:cubicBezTo>
                      <a:pt x="524" y="0"/>
                      <a:pt x="521" y="5"/>
                      <a:pt x="519" y="10"/>
                    </a:cubicBezTo>
                    <a:cubicBezTo>
                      <a:pt x="511" y="45"/>
                      <a:pt x="511" y="45"/>
                      <a:pt x="511" y="45"/>
                    </a:cubicBezTo>
                    <a:cubicBezTo>
                      <a:pt x="499" y="49"/>
                      <a:pt x="489" y="55"/>
                      <a:pt x="481" y="63"/>
                    </a:cubicBezTo>
                    <a:cubicBezTo>
                      <a:pt x="446" y="52"/>
                      <a:pt x="446" y="52"/>
                      <a:pt x="446" y="52"/>
                    </a:cubicBezTo>
                    <a:cubicBezTo>
                      <a:pt x="444" y="52"/>
                      <a:pt x="444" y="52"/>
                      <a:pt x="442" y="52"/>
                    </a:cubicBezTo>
                    <a:cubicBezTo>
                      <a:pt x="439" y="52"/>
                      <a:pt x="434" y="53"/>
                      <a:pt x="432" y="57"/>
                    </a:cubicBezTo>
                    <a:cubicBezTo>
                      <a:pt x="421" y="77"/>
                      <a:pt x="421" y="77"/>
                      <a:pt x="421" y="77"/>
                    </a:cubicBezTo>
                    <a:cubicBezTo>
                      <a:pt x="419" y="78"/>
                      <a:pt x="419" y="82"/>
                      <a:pt x="419" y="83"/>
                    </a:cubicBezTo>
                    <a:cubicBezTo>
                      <a:pt x="419" y="87"/>
                      <a:pt x="421" y="90"/>
                      <a:pt x="422" y="92"/>
                    </a:cubicBezTo>
                    <a:cubicBezTo>
                      <a:pt x="451" y="117"/>
                      <a:pt x="451" y="117"/>
                      <a:pt x="451" y="117"/>
                    </a:cubicBezTo>
                    <a:cubicBezTo>
                      <a:pt x="449" y="122"/>
                      <a:pt x="447" y="128"/>
                      <a:pt x="447" y="133"/>
                    </a:cubicBezTo>
                    <a:cubicBezTo>
                      <a:pt x="447" y="140"/>
                      <a:pt x="449" y="145"/>
                      <a:pt x="451" y="152"/>
                    </a:cubicBezTo>
                    <a:cubicBezTo>
                      <a:pt x="422" y="177"/>
                      <a:pt x="422" y="177"/>
                      <a:pt x="422" y="177"/>
                    </a:cubicBezTo>
                    <a:cubicBezTo>
                      <a:pt x="421" y="178"/>
                      <a:pt x="419" y="182"/>
                      <a:pt x="419" y="185"/>
                    </a:cubicBezTo>
                    <a:cubicBezTo>
                      <a:pt x="419" y="187"/>
                      <a:pt x="419" y="188"/>
                      <a:pt x="421" y="190"/>
                    </a:cubicBezTo>
                    <a:cubicBezTo>
                      <a:pt x="432" y="210"/>
                      <a:pt x="432" y="210"/>
                      <a:pt x="432" y="210"/>
                    </a:cubicBezTo>
                    <a:cubicBezTo>
                      <a:pt x="434" y="215"/>
                      <a:pt x="439" y="217"/>
                      <a:pt x="442" y="217"/>
                    </a:cubicBezTo>
                    <a:cubicBezTo>
                      <a:pt x="444" y="217"/>
                      <a:pt x="444" y="217"/>
                      <a:pt x="446" y="217"/>
                    </a:cubicBezTo>
                    <a:cubicBezTo>
                      <a:pt x="481" y="205"/>
                      <a:pt x="481" y="205"/>
                      <a:pt x="481" y="205"/>
                    </a:cubicBezTo>
                    <a:cubicBezTo>
                      <a:pt x="489" y="212"/>
                      <a:pt x="499" y="218"/>
                      <a:pt x="511" y="222"/>
                    </a:cubicBezTo>
                    <a:cubicBezTo>
                      <a:pt x="519" y="258"/>
                      <a:pt x="519" y="258"/>
                      <a:pt x="519" y="258"/>
                    </a:cubicBezTo>
                    <a:cubicBezTo>
                      <a:pt x="521" y="263"/>
                      <a:pt x="524" y="267"/>
                      <a:pt x="531" y="267"/>
                    </a:cubicBezTo>
                    <a:cubicBezTo>
                      <a:pt x="555" y="267"/>
                      <a:pt x="555" y="267"/>
                      <a:pt x="555" y="267"/>
                    </a:cubicBezTo>
                    <a:cubicBezTo>
                      <a:pt x="560" y="267"/>
                      <a:pt x="565" y="263"/>
                      <a:pt x="566" y="258"/>
                    </a:cubicBezTo>
                    <a:cubicBezTo>
                      <a:pt x="573" y="223"/>
                      <a:pt x="573" y="223"/>
                      <a:pt x="573" y="223"/>
                    </a:cubicBezTo>
                    <a:cubicBezTo>
                      <a:pt x="585" y="218"/>
                      <a:pt x="595" y="213"/>
                      <a:pt x="605" y="205"/>
                    </a:cubicBezTo>
                    <a:cubicBezTo>
                      <a:pt x="638" y="217"/>
                      <a:pt x="638" y="217"/>
                      <a:pt x="638" y="217"/>
                    </a:cubicBezTo>
                    <a:cubicBezTo>
                      <a:pt x="640" y="217"/>
                      <a:pt x="642" y="217"/>
                      <a:pt x="642" y="217"/>
                    </a:cubicBezTo>
                    <a:cubicBezTo>
                      <a:pt x="647" y="217"/>
                      <a:pt x="650" y="215"/>
                      <a:pt x="654" y="210"/>
                    </a:cubicBezTo>
                    <a:cubicBezTo>
                      <a:pt x="665" y="190"/>
                      <a:pt x="665" y="190"/>
                      <a:pt x="665" y="190"/>
                    </a:cubicBezTo>
                    <a:cubicBezTo>
                      <a:pt x="665" y="188"/>
                      <a:pt x="667" y="187"/>
                      <a:pt x="665" y="185"/>
                    </a:cubicBezTo>
                    <a:cubicBezTo>
                      <a:pt x="667" y="182"/>
                      <a:pt x="665" y="178"/>
                      <a:pt x="662" y="177"/>
                    </a:cubicBezTo>
                    <a:cubicBezTo>
                      <a:pt x="635" y="152"/>
                      <a:pt x="635" y="152"/>
                      <a:pt x="635" y="152"/>
                    </a:cubicBezTo>
                    <a:cubicBezTo>
                      <a:pt x="635" y="152"/>
                      <a:pt x="635" y="152"/>
                      <a:pt x="635" y="152"/>
                    </a:cubicBezTo>
                    <a:close/>
                    <a:moveTo>
                      <a:pt x="580" y="133"/>
                    </a:moveTo>
                    <a:cubicBezTo>
                      <a:pt x="580" y="153"/>
                      <a:pt x="563" y="170"/>
                      <a:pt x="543" y="170"/>
                    </a:cubicBezTo>
                    <a:cubicBezTo>
                      <a:pt x="523" y="170"/>
                      <a:pt x="506" y="153"/>
                      <a:pt x="506" y="133"/>
                    </a:cubicBezTo>
                    <a:cubicBezTo>
                      <a:pt x="506" y="113"/>
                      <a:pt x="523" y="97"/>
                      <a:pt x="543" y="97"/>
                    </a:cubicBezTo>
                    <a:cubicBezTo>
                      <a:pt x="563" y="97"/>
                      <a:pt x="580" y="113"/>
                      <a:pt x="580" y="133"/>
                    </a:cubicBez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42" name="TextBox 41"/>
              <p:cNvSpPr txBox="1"/>
              <p:nvPr/>
            </p:nvSpPr>
            <p:spPr>
              <a:xfrm>
                <a:off x="490300" y="4364682"/>
                <a:ext cx="2514600"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REST API</a:t>
                </a:r>
              </a:p>
            </p:txBody>
          </p:sp>
        </p:grpSp>
      </p:grpSp>
      <p:grpSp>
        <p:nvGrpSpPr>
          <p:cNvPr id="52" name="Group 51"/>
          <p:cNvGrpSpPr/>
          <p:nvPr/>
        </p:nvGrpSpPr>
        <p:grpSpPr>
          <a:xfrm>
            <a:off x="6172204" y="2114552"/>
            <a:ext cx="2530615" cy="1487469"/>
            <a:chOff x="6172200" y="2114550"/>
            <a:chExt cx="2530615" cy="1487469"/>
          </a:xfrm>
        </p:grpSpPr>
        <p:sp>
          <p:nvSpPr>
            <p:cNvPr id="47" name="TextBox 46"/>
            <p:cNvSpPr txBox="1"/>
            <p:nvPr/>
          </p:nvSpPr>
          <p:spPr>
            <a:xfrm>
              <a:off x="6172200" y="2114550"/>
              <a:ext cx="2530615"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600" dirty="0">
                  <a:solidFill>
                    <a:schemeClr val="tx2">
                      <a:alpha val="99000"/>
                    </a:schemeClr>
                  </a:solidFill>
                  <a:latin typeface="+mn-lt"/>
                </a:rPr>
                <a:t>Boot VM from New Disk</a:t>
              </a:r>
            </a:p>
          </p:txBody>
        </p:sp>
        <p:sp>
          <p:nvSpPr>
            <p:cNvPr id="49" name="Freeform 24"/>
            <p:cNvSpPr>
              <a:spLocks noEditPoints="1"/>
            </p:cNvSpPr>
            <p:nvPr/>
          </p:nvSpPr>
          <p:spPr bwMode="black">
            <a:xfrm>
              <a:off x="7812155" y="3013449"/>
              <a:ext cx="762000" cy="58857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50" name="Right Arrow 49"/>
            <p:cNvSpPr/>
            <p:nvPr/>
          </p:nvSpPr>
          <p:spPr bwMode="auto">
            <a:xfrm>
              <a:off x="7259543" y="3093089"/>
              <a:ext cx="445847"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pic>
        <p:nvPicPr>
          <p:cNvPr id="6146" name="Picture 2" descr="https://windows.azure-test.net/Content/VirtualMachines/Images/Windows_120.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05837" y="1721490"/>
            <a:ext cx="440816" cy="393062"/>
          </a:xfrm>
          <a:prstGeom prst="rect">
            <a:avLst/>
          </a:prstGeom>
          <a:noFill/>
          <a:extLst>
            <a:ext uri="{909E8E84-426E-40DD-AFC4-6F175D3DCCD1}">
              <a14:hiddenFill xmlns:a14="http://schemas.microsoft.com/office/drawing/2010/main">
                <a:solidFill>
                  <a:srgbClr val="FFFFFF"/>
                </a:solidFill>
              </a14:hiddenFill>
            </a:ext>
          </a:extLst>
        </p:spPr>
      </p:pic>
      <p:sp>
        <p:nvSpPr>
          <p:cNvPr id="30" name="TextBox 29"/>
          <p:cNvSpPr txBox="1"/>
          <p:nvPr/>
        </p:nvSpPr>
        <p:spPr>
          <a:xfrm>
            <a:off x="3830552" y="1822104"/>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Windows Server</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pic>
        <p:nvPicPr>
          <p:cNvPr id="6148" name="Picture 4" descr="https://windows.azure-test.net/Content/VirtualMachines/Images/Linux_120.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3563" y="2289279"/>
            <a:ext cx="547011" cy="547012"/>
          </a:xfrm>
          <a:prstGeom prst="rect">
            <a:avLst/>
          </a:prstGeom>
          <a:noFill/>
          <a:extLst>
            <a:ext uri="{909E8E84-426E-40DD-AFC4-6F175D3DCCD1}">
              <a14:hiddenFill xmlns:a14="http://schemas.microsoft.com/office/drawing/2010/main">
                <a:solidFill>
                  <a:srgbClr val="FFFFFF"/>
                </a:solidFill>
              </a14:hiddenFill>
            </a:ext>
          </a:extLst>
        </p:spPr>
      </p:pic>
      <p:sp>
        <p:nvSpPr>
          <p:cNvPr id="54" name="TextBox 53"/>
          <p:cNvSpPr txBox="1"/>
          <p:nvPr/>
        </p:nvSpPr>
        <p:spPr>
          <a:xfrm>
            <a:off x="3852068" y="2493961"/>
            <a:ext cx="1886944" cy="276999"/>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inux</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33" name="TextBox 32"/>
          <p:cNvSpPr txBox="1"/>
          <p:nvPr/>
        </p:nvSpPr>
        <p:spPr>
          <a:xfrm>
            <a:off x="3852848" y="2964693"/>
            <a:ext cx="2040713" cy="1631216"/>
          </a:xfrm>
          <a:prstGeom prst="rect">
            <a:avLst/>
          </a:prstGeom>
          <a:noFill/>
        </p:spPr>
        <p:txBody>
          <a:bodyPr wrap="square" lIns="0" tIns="0" rIns="0" bIns="0" rtlCol="0">
            <a:spAutoFit/>
          </a:bodyPr>
          <a:lstStyle/>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Extra 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Small</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Medium</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Large </a:t>
            </a:r>
          </a:p>
          <a:p>
            <a:pPr>
              <a:lnSpc>
                <a:spcPct val="90000"/>
              </a:lnSpc>
              <a:spcBef>
                <a:spcPct val="20000"/>
              </a:spcBef>
              <a:buSzPct val="80000"/>
            </a:pPr>
            <a:r>
              <a:rPr lang="en-US" sz="2000" dirty="0" smtClean="0">
                <a:gradFill>
                  <a:gsLst>
                    <a:gs pos="0">
                      <a:srgbClr val="292929">
                        <a:lumMod val="90000"/>
                        <a:lumOff val="10000"/>
                      </a:srgbClr>
                    </a:gs>
                    <a:gs pos="86000">
                      <a:srgbClr val="292929">
                        <a:lumMod val="90000"/>
                        <a:lumOff val="10000"/>
                      </a:srgbClr>
                    </a:gs>
                  </a:gsLst>
                  <a:lin ang="5400000" scaled="0"/>
                </a:gradFill>
              </a:rPr>
              <a:t>X-Large</a:t>
            </a:r>
            <a:endParaRPr lang="en-US" sz="2000" dirty="0">
              <a:gradFill>
                <a:gsLst>
                  <a:gs pos="0">
                    <a:srgbClr val="292929">
                      <a:lumMod val="90000"/>
                      <a:lumOff val="10000"/>
                    </a:srgbClr>
                  </a:gs>
                  <a:gs pos="86000">
                    <a:srgbClr val="292929">
                      <a:lumMod val="90000"/>
                      <a:lumOff val="10000"/>
                    </a:srgbClr>
                  </a:gs>
                </a:gsLst>
                <a:lin ang="5400000" scaled="0"/>
              </a:gradFill>
            </a:endParaRPr>
          </a:p>
        </p:txBody>
      </p:sp>
      <p:sp>
        <p:nvSpPr>
          <p:cNvPr id="57" name="Freeform 6"/>
          <p:cNvSpPr>
            <a:spLocks noEditPoints="1"/>
          </p:cNvSpPr>
          <p:nvPr/>
        </p:nvSpPr>
        <p:spPr bwMode="auto">
          <a:xfrm>
            <a:off x="3511167" y="300114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8" name="Freeform 6"/>
          <p:cNvSpPr>
            <a:spLocks noEditPoints="1"/>
          </p:cNvSpPr>
          <p:nvPr/>
        </p:nvSpPr>
        <p:spPr bwMode="auto">
          <a:xfrm>
            <a:off x="3507509" y="3360036"/>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59" name="Freeform 6"/>
          <p:cNvSpPr>
            <a:spLocks noEditPoints="1"/>
          </p:cNvSpPr>
          <p:nvPr/>
        </p:nvSpPr>
        <p:spPr bwMode="auto">
          <a:xfrm>
            <a:off x="3511167" y="369912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0" name="Freeform 6"/>
          <p:cNvSpPr>
            <a:spLocks noEditPoints="1"/>
          </p:cNvSpPr>
          <p:nvPr/>
        </p:nvSpPr>
        <p:spPr bwMode="auto">
          <a:xfrm>
            <a:off x="3511167" y="4047588"/>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
        <p:nvSpPr>
          <p:cNvPr id="61" name="Freeform 6"/>
          <p:cNvSpPr>
            <a:spLocks noEditPoints="1"/>
          </p:cNvSpPr>
          <p:nvPr/>
        </p:nvSpPr>
        <p:spPr bwMode="auto">
          <a:xfrm>
            <a:off x="3511167" y="4364682"/>
            <a:ext cx="136349" cy="231227"/>
          </a:xfrm>
          <a:custGeom>
            <a:avLst/>
            <a:gdLst>
              <a:gd name="T0" fmla="*/ 192 w 221"/>
              <a:gd name="T1" fmla="*/ 0 h 374"/>
              <a:gd name="T2" fmla="*/ 192 w 221"/>
              <a:gd name="T3" fmla="*/ 0 h 374"/>
              <a:gd name="T4" fmla="*/ 221 w 221"/>
              <a:gd name="T5" fmla="*/ 29 h 374"/>
              <a:gd name="T6" fmla="*/ 221 w 221"/>
              <a:gd name="T7" fmla="*/ 345 h 374"/>
              <a:gd name="T8" fmla="*/ 192 w 221"/>
              <a:gd name="T9" fmla="*/ 374 h 374"/>
              <a:gd name="T10" fmla="*/ 29 w 221"/>
              <a:gd name="T11" fmla="*/ 374 h 374"/>
              <a:gd name="T12" fmla="*/ 0 w 221"/>
              <a:gd name="T13" fmla="*/ 345 h 374"/>
              <a:gd name="T14" fmla="*/ 0 w 221"/>
              <a:gd name="T15" fmla="*/ 29 h 374"/>
              <a:gd name="T16" fmla="*/ 29 w 221"/>
              <a:gd name="T17" fmla="*/ 0 h 374"/>
              <a:gd name="T18" fmla="*/ 192 w 221"/>
              <a:gd name="T19" fmla="*/ 0 h 374"/>
              <a:gd name="T20" fmla="*/ 181 w 221"/>
              <a:gd name="T21" fmla="*/ 311 h 374"/>
              <a:gd name="T22" fmla="*/ 49 w 221"/>
              <a:gd name="T23" fmla="*/ 311 h 374"/>
              <a:gd name="T24" fmla="*/ 38 w 221"/>
              <a:gd name="T25" fmla="*/ 299 h 374"/>
              <a:gd name="T26" fmla="*/ 49 w 221"/>
              <a:gd name="T27" fmla="*/ 288 h 374"/>
              <a:gd name="T28" fmla="*/ 181 w 221"/>
              <a:gd name="T29" fmla="*/ 288 h 374"/>
              <a:gd name="T30" fmla="*/ 193 w 221"/>
              <a:gd name="T31" fmla="*/ 299 h 374"/>
              <a:gd name="T32" fmla="*/ 181 w 221"/>
              <a:gd name="T33" fmla="*/ 311 h 374"/>
              <a:gd name="T34" fmla="*/ 181 w 221"/>
              <a:gd name="T35" fmla="*/ 258 h 374"/>
              <a:gd name="T36" fmla="*/ 49 w 221"/>
              <a:gd name="T37" fmla="*/ 258 h 374"/>
              <a:gd name="T38" fmla="*/ 38 w 221"/>
              <a:gd name="T39" fmla="*/ 246 h 374"/>
              <a:gd name="T40" fmla="*/ 49 w 221"/>
              <a:gd name="T41" fmla="*/ 235 h 374"/>
              <a:gd name="T42" fmla="*/ 181 w 221"/>
              <a:gd name="T43" fmla="*/ 235 h 374"/>
              <a:gd name="T44" fmla="*/ 193 w 221"/>
              <a:gd name="T45" fmla="*/ 246 h 374"/>
              <a:gd name="T46" fmla="*/ 181 w 221"/>
              <a:gd name="T47" fmla="*/ 258 h 374"/>
              <a:gd name="T48" fmla="*/ 177 w 221"/>
              <a:gd name="T49" fmla="*/ 194 h 374"/>
              <a:gd name="T50" fmla="*/ 161 w 221"/>
              <a:gd name="T51" fmla="*/ 178 h 374"/>
              <a:gd name="T52" fmla="*/ 177 w 221"/>
              <a:gd name="T53" fmla="*/ 162 h 374"/>
              <a:gd name="T54" fmla="*/ 193 w 221"/>
              <a:gd name="T55" fmla="*/ 178 h 374"/>
              <a:gd name="T56" fmla="*/ 177 w 221"/>
              <a:gd name="T57" fmla="*/ 194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21" h="374">
                <a:moveTo>
                  <a:pt x="192" y="0"/>
                </a:moveTo>
                <a:cubicBezTo>
                  <a:pt x="192" y="0"/>
                  <a:pt x="192" y="0"/>
                  <a:pt x="192" y="0"/>
                </a:cubicBezTo>
                <a:cubicBezTo>
                  <a:pt x="208" y="0"/>
                  <a:pt x="221" y="13"/>
                  <a:pt x="221" y="29"/>
                </a:cubicBezTo>
                <a:cubicBezTo>
                  <a:pt x="221" y="29"/>
                  <a:pt x="221" y="29"/>
                  <a:pt x="221" y="345"/>
                </a:cubicBezTo>
                <a:cubicBezTo>
                  <a:pt x="221" y="361"/>
                  <a:pt x="208" y="374"/>
                  <a:pt x="192" y="374"/>
                </a:cubicBezTo>
                <a:cubicBezTo>
                  <a:pt x="192" y="374"/>
                  <a:pt x="192" y="374"/>
                  <a:pt x="29" y="374"/>
                </a:cubicBezTo>
                <a:cubicBezTo>
                  <a:pt x="12" y="374"/>
                  <a:pt x="0" y="361"/>
                  <a:pt x="0" y="345"/>
                </a:cubicBezTo>
                <a:cubicBezTo>
                  <a:pt x="0" y="345"/>
                  <a:pt x="0" y="345"/>
                  <a:pt x="0" y="29"/>
                </a:cubicBezTo>
                <a:cubicBezTo>
                  <a:pt x="0" y="13"/>
                  <a:pt x="12" y="0"/>
                  <a:pt x="29" y="0"/>
                </a:cubicBezTo>
                <a:lnTo>
                  <a:pt x="192" y="0"/>
                </a:lnTo>
                <a:close/>
                <a:moveTo>
                  <a:pt x="181" y="311"/>
                </a:moveTo>
                <a:cubicBezTo>
                  <a:pt x="49" y="311"/>
                  <a:pt x="49" y="311"/>
                  <a:pt x="49" y="311"/>
                </a:cubicBezTo>
                <a:cubicBezTo>
                  <a:pt x="43" y="311"/>
                  <a:pt x="38" y="306"/>
                  <a:pt x="38" y="299"/>
                </a:cubicBezTo>
                <a:cubicBezTo>
                  <a:pt x="38" y="293"/>
                  <a:pt x="43" y="288"/>
                  <a:pt x="49" y="288"/>
                </a:cubicBezTo>
                <a:cubicBezTo>
                  <a:pt x="181" y="288"/>
                  <a:pt x="181" y="288"/>
                  <a:pt x="181" y="288"/>
                </a:cubicBezTo>
                <a:cubicBezTo>
                  <a:pt x="188" y="288"/>
                  <a:pt x="193" y="293"/>
                  <a:pt x="193" y="299"/>
                </a:cubicBezTo>
                <a:cubicBezTo>
                  <a:pt x="193" y="306"/>
                  <a:pt x="188" y="311"/>
                  <a:pt x="181" y="311"/>
                </a:cubicBezTo>
                <a:close/>
                <a:moveTo>
                  <a:pt x="181" y="258"/>
                </a:moveTo>
                <a:cubicBezTo>
                  <a:pt x="49" y="258"/>
                  <a:pt x="49" y="258"/>
                  <a:pt x="49" y="258"/>
                </a:cubicBezTo>
                <a:cubicBezTo>
                  <a:pt x="43" y="258"/>
                  <a:pt x="38" y="253"/>
                  <a:pt x="38" y="246"/>
                </a:cubicBezTo>
                <a:cubicBezTo>
                  <a:pt x="38" y="240"/>
                  <a:pt x="43" y="235"/>
                  <a:pt x="49" y="235"/>
                </a:cubicBezTo>
                <a:cubicBezTo>
                  <a:pt x="181" y="235"/>
                  <a:pt x="181" y="235"/>
                  <a:pt x="181" y="235"/>
                </a:cubicBezTo>
                <a:cubicBezTo>
                  <a:pt x="188" y="235"/>
                  <a:pt x="193" y="240"/>
                  <a:pt x="193" y="246"/>
                </a:cubicBezTo>
                <a:cubicBezTo>
                  <a:pt x="193" y="253"/>
                  <a:pt x="188" y="258"/>
                  <a:pt x="181" y="258"/>
                </a:cubicBezTo>
                <a:close/>
                <a:moveTo>
                  <a:pt x="177" y="194"/>
                </a:moveTo>
                <a:cubicBezTo>
                  <a:pt x="168" y="194"/>
                  <a:pt x="161" y="187"/>
                  <a:pt x="161" y="178"/>
                </a:cubicBezTo>
                <a:cubicBezTo>
                  <a:pt x="161" y="170"/>
                  <a:pt x="168" y="162"/>
                  <a:pt x="177" y="162"/>
                </a:cubicBezTo>
                <a:cubicBezTo>
                  <a:pt x="186" y="162"/>
                  <a:pt x="193" y="170"/>
                  <a:pt x="193" y="178"/>
                </a:cubicBezTo>
                <a:cubicBezTo>
                  <a:pt x="193" y="187"/>
                  <a:pt x="186" y="194"/>
                  <a:pt x="177" y="194"/>
                </a:cubicBezTo>
                <a:close/>
              </a:path>
            </a:pathLst>
          </a:custGeom>
          <a:solidFill>
            <a:srgbClr val="595959"/>
          </a:solidFill>
          <a:ln>
            <a:noFill/>
          </a:ln>
        </p:spPr>
        <p:txBody>
          <a:bodyPr vert="horz" wrap="square" lIns="68589" tIns="34295" rIns="68589" bIns="34295" numCol="1" anchor="t" anchorCtr="0" compatLnSpc="1">
            <a:prstTxWarp prst="textNoShape">
              <a:avLst/>
            </a:prstTxWarp>
          </a:bodyPr>
          <a:lstStyle/>
          <a:p>
            <a:pPr defTabSz="685294"/>
            <a:endParaRPr lang="en-US" sz="1400" dirty="0">
              <a:solidFill>
                <a:srgbClr val="292929"/>
              </a:solidFill>
            </a:endParaRPr>
          </a:p>
        </p:txBody>
      </p:sp>
    </p:spTree>
    <p:extLst>
      <p:ext uri="{BB962C8B-B14F-4D97-AF65-F5344CB8AC3E}">
        <p14:creationId xmlns:p14="http://schemas.microsoft.com/office/powerpoint/2010/main" val="23462610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par>
                                <p:cTn id="16" presetID="10" presetClass="entr" presetSubtype="0" fill="hold" nodeType="withEffect">
                                  <p:stCondLst>
                                    <p:cond delay="0"/>
                                  </p:stCondLst>
                                  <p:childTnLst>
                                    <p:set>
                                      <p:cBhvr>
                                        <p:cTn id="17" dur="1" fill="hold">
                                          <p:stCondLst>
                                            <p:cond delay="0"/>
                                          </p:stCondLst>
                                        </p:cTn>
                                        <p:tgtEl>
                                          <p:spTgt spid="6146"/>
                                        </p:tgtEl>
                                        <p:attrNameLst>
                                          <p:attrName>style.visibility</p:attrName>
                                        </p:attrNameLst>
                                      </p:cBhvr>
                                      <p:to>
                                        <p:strVal val="visible"/>
                                      </p:to>
                                    </p:set>
                                    <p:animEffect transition="in" filter="fade">
                                      <p:cBhvr>
                                        <p:cTn id="18" dur="500"/>
                                        <p:tgtEl>
                                          <p:spTgt spid="614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fade">
                                      <p:cBhvr>
                                        <p:cTn id="21" dur="500"/>
                                        <p:tgtEl>
                                          <p:spTgt spid="30"/>
                                        </p:tgtEl>
                                      </p:cBhvr>
                                    </p:animEffect>
                                  </p:childTnLst>
                                </p:cTn>
                              </p:par>
                              <p:par>
                                <p:cTn id="22" presetID="10" presetClass="entr" presetSubtype="0" fill="hold" nodeType="withEffect">
                                  <p:stCondLst>
                                    <p:cond delay="0"/>
                                  </p:stCondLst>
                                  <p:childTnLst>
                                    <p:set>
                                      <p:cBhvr>
                                        <p:cTn id="23" dur="1" fill="hold">
                                          <p:stCondLst>
                                            <p:cond delay="0"/>
                                          </p:stCondLst>
                                        </p:cTn>
                                        <p:tgtEl>
                                          <p:spTgt spid="6148"/>
                                        </p:tgtEl>
                                        <p:attrNameLst>
                                          <p:attrName>style.visibility</p:attrName>
                                        </p:attrNameLst>
                                      </p:cBhvr>
                                      <p:to>
                                        <p:strVal val="visible"/>
                                      </p:to>
                                    </p:set>
                                    <p:animEffect transition="in" filter="fade">
                                      <p:cBhvr>
                                        <p:cTn id="24" dur="500"/>
                                        <p:tgtEl>
                                          <p:spTgt spid="6148"/>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4"/>
                                        </p:tgtEl>
                                        <p:attrNameLst>
                                          <p:attrName>style.visibility</p:attrName>
                                        </p:attrNameLst>
                                      </p:cBhvr>
                                      <p:to>
                                        <p:strVal val="visible"/>
                                      </p:to>
                                    </p:set>
                                    <p:animEffect transition="in" filter="fade">
                                      <p:cBhvr>
                                        <p:cTn id="27" dur="500"/>
                                        <p:tgtEl>
                                          <p:spTgt spid="54"/>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3"/>
                                        </p:tgtEl>
                                        <p:attrNameLst>
                                          <p:attrName>style.visibility</p:attrName>
                                        </p:attrNameLst>
                                      </p:cBhvr>
                                      <p:to>
                                        <p:strVal val="visible"/>
                                      </p:to>
                                    </p:set>
                                    <p:animEffect transition="in" filter="fade">
                                      <p:cBhvr>
                                        <p:cTn id="30" dur="500"/>
                                        <p:tgtEl>
                                          <p:spTgt spid="3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7"/>
                                        </p:tgtEl>
                                        <p:attrNameLst>
                                          <p:attrName>style.visibility</p:attrName>
                                        </p:attrNameLst>
                                      </p:cBhvr>
                                      <p:to>
                                        <p:strVal val="visible"/>
                                      </p:to>
                                    </p:set>
                                    <p:animEffect transition="in" filter="fade">
                                      <p:cBhvr>
                                        <p:cTn id="33" dur="500"/>
                                        <p:tgtEl>
                                          <p:spTgt spid="5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58"/>
                                        </p:tgtEl>
                                        <p:attrNameLst>
                                          <p:attrName>style.visibility</p:attrName>
                                        </p:attrNameLst>
                                      </p:cBhvr>
                                      <p:to>
                                        <p:strVal val="visible"/>
                                      </p:to>
                                    </p:set>
                                    <p:animEffect transition="in" filter="fade">
                                      <p:cBhvr>
                                        <p:cTn id="36" dur="500"/>
                                        <p:tgtEl>
                                          <p:spTgt spid="5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59"/>
                                        </p:tgtEl>
                                        <p:attrNameLst>
                                          <p:attrName>style.visibility</p:attrName>
                                        </p:attrNameLst>
                                      </p:cBhvr>
                                      <p:to>
                                        <p:strVal val="visible"/>
                                      </p:to>
                                    </p:set>
                                    <p:animEffect transition="in" filter="fade">
                                      <p:cBhvr>
                                        <p:cTn id="39" dur="500"/>
                                        <p:tgtEl>
                                          <p:spTgt spid="5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60"/>
                                        </p:tgtEl>
                                        <p:attrNameLst>
                                          <p:attrName>style.visibility</p:attrName>
                                        </p:attrNameLst>
                                      </p:cBhvr>
                                      <p:to>
                                        <p:strVal val="visible"/>
                                      </p:to>
                                    </p:set>
                                    <p:animEffect transition="in" filter="fade">
                                      <p:cBhvr>
                                        <p:cTn id="42" dur="500"/>
                                        <p:tgtEl>
                                          <p:spTgt spid="60"/>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fade">
                                      <p:cBhvr>
                                        <p:cTn id="45" dur="500"/>
                                        <p:tgtEl>
                                          <p:spTgt spid="61"/>
                                        </p:tgtEl>
                                      </p:cBhvr>
                                    </p:animEffect>
                                  </p:childTnLst>
                                </p:cTn>
                              </p:par>
                            </p:childTnLst>
                          </p:cTn>
                        </p:par>
                      </p:childTnLst>
                    </p:cTn>
                  </p:par>
                  <p:par>
                    <p:cTn id="46" fill="hold">
                      <p:stCondLst>
                        <p:cond delay="indefinite"/>
                      </p:stCondLst>
                      <p:childTnLst>
                        <p:par>
                          <p:cTn id="47" fill="hold">
                            <p:stCondLst>
                              <p:cond delay="0"/>
                            </p:stCondLst>
                            <p:childTnLst>
                              <p:par>
                                <p:cTn id="48" presetID="10" presetClass="entr" presetSubtype="0" fill="hold" nodeType="click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par>
                                <p:cTn id="51" presetID="10" presetClass="entr" presetSubtype="0" fill="hold" nodeType="withEffect">
                                  <p:stCondLst>
                                    <p:cond delay="0"/>
                                  </p:stCondLst>
                                  <p:childTnLst>
                                    <p:set>
                                      <p:cBhvr>
                                        <p:cTn id="52" dur="1" fill="hold">
                                          <p:stCondLst>
                                            <p:cond delay="0"/>
                                          </p:stCondLst>
                                        </p:cTn>
                                        <p:tgtEl>
                                          <p:spTgt spid="52"/>
                                        </p:tgtEl>
                                        <p:attrNameLst>
                                          <p:attrName>style.visibility</p:attrName>
                                        </p:attrNameLst>
                                      </p:cBhvr>
                                      <p:to>
                                        <p:strVal val="visible"/>
                                      </p:to>
                                    </p:set>
                                    <p:animEffect transition="in" filter="fade">
                                      <p:cBhvr>
                                        <p:cTn id="53" dur="500"/>
                                        <p:tgtEl>
                                          <p:spTgt spid="5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animBg="1"/>
      <p:bldP spid="30" grpId="0"/>
      <p:bldP spid="54" grpId="0"/>
      <p:bldP spid="33" grpId="0"/>
      <p:bldP spid="57" grpId="0" animBg="1"/>
      <p:bldP spid="58" grpId="0" animBg="1"/>
      <p:bldP spid="59" grpId="0" animBg="1"/>
      <p:bldP spid="60" grpId="0" animBg="1"/>
      <p:bldP spid="6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381001" y="828676"/>
            <a:ext cx="4067278" cy="3876674"/>
          </a:xfrm>
          <a:prstGeom prst="rect">
            <a:avLst/>
          </a:prstGeom>
          <a:solidFill>
            <a:schemeClr val="tx2">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20" tIns="45710" rIns="91420" bIns="45710"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a:t>Bring </a:t>
            </a:r>
            <a:r>
              <a:rPr lang="en-US" dirty="0" smtClean="0"/>
              <a:t>Your Own </a:t>
            </a:r>
            <a:r>
              <a:rPr lang="en-US" dirty="0"/>
              <a:t>Server/VHD</a:t>
            </a:r>
          </a:p>
        </p:txBody>
      </p:sp>
      <p:sp>
        <p:nvSpPr>
          <p:cNvPr id="3" name="Rectangle 2"/>
          <p:cNvSpPr/>
          <p:nvPr/>
        </p:nvSpPr>
        <p:spPr bwMode="auto">
          <a:xfrm>
            <a:off x="381424" y="828676"/>
            <a:ext cx="4073454" cy="600074"/>
          </a:xfrm>
          <a:prstGeom prst="rect">
            <a:avLst/>
          </a:prstGeom>
          <a:noFill/>
          <a:ln w="9525" cap="flat" cmpd="sng" algn="ctr">
            <a:noFill/>
            <a:prstDash val="solid"/>
            <a:headEnd type="none" w="med" len="med"/>
            <a:tailEnd type="none" w="med" len="med"/>
          </a:ln>
          <a:effectLst/>
        </p:spPr>
        <p:txBody>
          <a:bodyPr vert="horz" wrap="square" lIns="182850" tIns="45712" rIns="91424" bIns="45712" numCol="1" rtlCol="0" anchor="ctr" anchorCtr="0" compatLnSpc="1">
            <a:prstTxWarp prst="textNoShape">
              <a:avLst/>
            </a:prstTxWarp>
          </a:bodyPr>
          <a:lstStyle/>
          <a:p>
            <a:pPr lvl="0">
              <a:lnSpc>
                <a:spcPct val="90000"/>
              </a:lnSpc>
              <a:buSzPct val="90000"/>
              <a:defRPr/>
            </a:pPr>
            <a:r>
              <a:rPr lang="en-US" sz="2200" kern="0" dirty="0">
                <a:solidFill>
                  <a:schemeClr val="tx2">
                    <a:alpha val="99000"/>
                  </a:schemeClr>
                </a:solidFill>
                <a:latin typeface="Segoe UI Light" pitchFamily="34" charset="0"/>
                <a:ea typeface="Segoe UI" pitchFamily="34" charset="0"/>
                <a:cs typeface="Segoe UI" pitchFamily="34" charset="0"/>
              </a:rPr>
              <a:t>On-Premises</a:t>
            </a:r>
          </a:p>
        </p:txBody>
      </p:sp>
      <p:sp>
        <p:nvSpPr>
          <p:cNvPr id="9" name="Freeform 24"/>
          <p:cNvSpPr>
            <a:spLocks noEditPoints="1"/>
          </p:cNvSpPr>
          <p:nvPr/>
        </p:nvSpPr>
        <p:spPr bwMode="black">
          <a:xfrm>
            <a:off x="787155" y="1565248"/>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24" tIns="45712" rIns="91424" bIns="45712" numCol="1" anchor="t" anchorCtr="0" compatLnSpc="1">
            <a:prstTxWarp prst="textNoShape">
              <a:avLst/>
            </a:prstTxWarp>
          </a:bodyPr>
          <a:lstStyle/>
          <a:p>
            <a:endParaRPr lang="en-US"/>
          </a:p>
        </p:txBody>
      </p:sp>
      <p:sp>
        <p:nvSpPr>
          <p:cNvPr id="10" name="TextBox 9"/>
          <p:cNvSpPr txBox="1"/>
          <p:nvPr/>
        </p:nvSpPr>
        <p:spPr>
          <a:xfrm>
            <a:off x="542678" y="2258209"/>
            <a:ext cx="1278172"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On Premises Virtual Server</a:t>
            </a:r>
          </a:p>
        </p:txBody>
      </p:sp>
      <p:grpSp>
        <p:nvGrpSpPr>
          <p:cNvPr id="25" name="Group 24"/>
          <p:cNvGrpSpPr/>
          <p:nvPr/>
        </p:nvGrpSpPr>
        <p:grpSpPr>
          <a:xfrm>
            <a:off x="1972304" y="1566589"/>
            <a:ext cx="2066296" cy="2340266"/>
            <a:chOff x="1972304" y="1566589"/>
            <a:chExt cx="2066296" cy="2340266"/>
          </a:xfrm>
        </p:grpSpPr>
        <p:sp>
          <p:nvSpPr>
            <p:cNvPr id="11" name="Right Arrow 10"/>
            <p:cNvSpPr/>
            <p:nvPr/>
          </p:nvSpPr>
          <p:spPr bwMode="auto">
            <a:xfrm>
              <a:off x="1972304" y="1908516"/>
              <a:ext cx="923296"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grpSp>
          <p:nvGrpSpPr>
            <p:cNvPr id="14" name="Group 13"/>
            <p:cNvGrpSpPr/>
            <p:nvPr/>
          </p:nvGrpSpPr>
          <p:grpSpPr>
            <a:xfrm>
              <a:off x="3200399" y="1566589"/>
              <a:ext cx="838201" cy="1113144"/>
              <a:chOff x="3200399" y="1566589"/>
              <a:chExt cx="838201" cy="1113144"/>
            </a:xfrm>
          </p:grpSpPr>
          <p:sp>
            <p:nvSpPr>
              <p:cNvPr id="12" name="Folded Corner 11"/>
              <p:cNvSpPr/>
              <p:nvPr/>
            </p:nvSpPr>
            <p:spPr bwMode="auto">
              <a:xfrm flipV="1">
                <a:off x="3200399" y="1566589"/>
                <a:ext cx="838201" cy="1113144"/>
              </a:xfrm>
              <a:prstGeom prst="foldedCorner">
                <a:avLst>
                  <a:gd name="adj" fmla="val 32319"/>
                </a:avLst>
              </a:prstGeom>
              <a:noFill/>
              <a:ln w="19050">
                <a:solidFill>
                  <a:schemeClr val="accent6"/>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3" name="TextBox 12"/>
              <p:cNvSpPr txBox="1"/>
              <p:nvPr/>
            </p:nvSpPr>
            <p:spPr>
              <a:xfrm>
                <a:off x="3200399" y="1976577"/>
                <a:ext cx="838201"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200" dirty="0" err="1">
                    <a:solidFill>
                      <a:schemeClr val="tx2">
                        <a:alpha val="99000"/>
                      </a:schemeClr>
                    </a:solidFill>
                    <a:latin typeface="+mn-lt"/>
                  </a:rPr>
                  <a:t>MyApp.vhd</a:t>
                </a:r>
                <a:endParaRPr lang="en-US" sz="1200" dirty="0">
                  <a:solidFill>
                    <a:schemeClr val="tx2">
                      <a:alpha val="99000"/>
                    </a:schemeClr>
                  </a:solidFill>
                  <a:latin typeface="+mn-lt"/>
                </a:endParaRPr>
              </a:p>
            </p:txBody>
          </p:sp>
        </p:grpSp>
        <p:sp>
          <p:nvSpPr>
            <p:cNvPr id="15" name="Right Arrow 14"/>
            <p:cNvSpPr/>
            <p:nvPr/>
          </p:nvSpPr>
          <p:spPr bwMode="auto">
            <a:xfrm rot="5400000">
              <a:off x="3373672" y="2606578"/>
              <a:ext cx="491654"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16" name="Freeform 15"/>
            <p:cNvSpPr/>
            <p:nvPr/>
          </p:nvSpPr>
          <p:spPr>
            <a:xfrm>
              <a:off x="3240154"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4"/>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Upload VHD</a:t>
              </a:r>
            </a:p>
          </p:txBody>
        </p:sp>
      </p:grpSp>
      <p:grpSp>
        <p:nvGrpSpPr>
          <p:cNvPr id="27" name="Group 26"/>
          <p:cNvGrpSpPr/>
          <p:nvPr/>
        </p:nvGrpSpPr>
        <p:grpSpPr>
          <a:xfrm>
            <a:off x="4689547" y="828676"/>
            <a:ext cx="4073454" cy="3876674"/>
            <a:chOff x="4689547" y="828676"/>
            <a:chExt cx="4073454" cy="3876674"/>
          </a:xfrm>
        </p:grpSpPr>
        <p:sp>
          <p:nvSpPr>
            <p:cNvPr id="6" name="Rectangle 5"/>
            <p:cNvSpPr/>
            <p:nvPr/>
          </p:nvSpPr>
          <p:spPr bwMode="auto">
            <a:xfrm>
              <a:off x="4695723" y="828676"/>
              <a:ext cx="4067278" cy="3876674"/>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3947"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4" name="Rectangle 3"/>
            <p:cNvSpPr/>
            <p:nvPr/>
          </p:nvSpPr>
          <p:spPr bwMode="auto">
            <a:xfrm>
              <a:off x="4689547" y="828676"/>
              <a:ext cx="4073454" cy="600074"/>
            </a:xfrm>
            <a:prstGeom prst="rect">
              <a:avLst/>
            </a:prstGeom>
            <a:noFill/>
            <a:ln w="9525" cap="flat" cmpd="sng" algn="ctr">
              <a:noFill/>
              <a:prstDash val="solid"/>
              <a:headEnd type="none" w="med" len="med"/>
              <a:tailEnd type="none" w="med" len="med"/>
            </a:ln>
            <a:effectLst/>
          </p:spPr>
          <p:txBody>
            <a:bodyPr vert="horz" wrap="square" lIns="182880" tIns="45720" rIns="91440" bIns="45720" numCol="1" rtlCol="0" anchor="ctr" anchorCtr="0" compatLnSpc="1">
              <a:prstTxWarp prst="textNoShape">
                <a:avLst/>
              </a:prstTxWarp>
            </a:bodyPr>
            <a:lstStyle/>
            <a:p>
              <a:pPr>
                <a:lnSpc>
                  <a:spcPct val="90000"/>
                </a:lnSpc>
                <a:buSzPct val="90000"/>
              </a:pPr>
              <a:r>
                <a:rPr lang="en-US" sz="2200" kern="0" dirty="0">
                  <a:solidFill>
                    <a:schemeClr val="accent6">
                      <a:alpha val="99000"/>
                    </a:schemeClr>
                  </a:solidFill>
                  <a:latin typeface="Segoe UI Light" pitchFamily="34" charset="0"/>
                  <a:ea typeface="Segoe UI" pitchFamily="34" charset="0"/>
                  <a:cs typeface="Segoe UI" pitchFamily="34" charset="0"/>
                </a:rPr>
                <a:t>Cloud</a:t>
              </a:r>
            </a:p>
          </p:txBody>
        </p:sp>
        <p:sp>
          <p:nvSpPr>
            <p:cNvPr id="8" name="Freeform 128"/>
            <p:cNvSpPr>
              <a:spLocks noChangeAspect="1"/>
            </p:cNvSpPr>
            <p:nvPr/>
          </p:nvSpPr>
          <p:spPr bwMode="black">
            <a:xfrm>
              <a:off x="4800600" y="2014701"/>
              <a:ext cx="3810000" cy="2104698"/>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18" name="Can 17"/>
            <p:cNvSpPr/>
            <p:nvPr>
              <p:custDataLst>
                <p:tags r:id="rId2"/>
              </p:custDataLst>
            </p:nvPr>
          </p:nvSpPr>
          <p:spPr>
            <a:xfrm>
              <a:off x="5054384" y="3096512"/>
              <a:ext cx="819758" cy="862368"/>
            </a:xfrm>
            <a:prstGeom prst="can">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68589" tIns="34295" rIns="68589" bIns="34295" rtlCol="0" anchor="ctr"/>
            <a:lstStyle/>
            <a:p>
              <a:pPr algn="ctr" fontAlgn="base">
                <a:lnSpc>
                  <a:spcPct val="90000"/>
                </a:lnSpc>
                <a:spcBef>
                  <a:spcPct val="0"/>
                </a:spcBef>
                <a:spcAft>
                  <a:spcPct val="0"/>
                </a:spcAft>
                <a:buSzPct val="90000"/>
                <a:defRPr/>
              </a:pPr>
              <a:r>
                <a:rPr lang="en-US" sz="1400" kern="0" dirty="0">
                  <a:gradFill>
                    <a:gsLst>
                      <a:gs pos="85000">
                        <a:srgbClr val="FFFFFF"/>
                      </a:gs>
                      <a:gs pos="0">
                        <a:srgbClr val="FFFFFF"/>
                      </a:gs>
                    </a:gsLst>
                    <a:lin ang="5400000" scaled="0"/>
                  </a:gradFill>
                  <a:ea typeface="Segoe UI" pitchFamily="34" charset="0"/>
                  <a:cs typeface="Segoe UI" pitchFamily="34" charset="0"/>
                </a:rPr>
                <a:t>Blob Storage</a:t>
              </a:r>
            </a:p>
          </p:txBody>
        </p:sp>
      </p:grpSp>
      <p:grpSp>
        <p:nvGrpSpPr>
          <p:cNvPr id="26" name="Group 25"/>
          <p:cNvGrpSpPr/>
          <p:nvPr/>
        </p:nvGrpSpPr>
        <p:grpSpPr>
          <a:xfrm>
            <a:off x="5928754" y="2723982"/>
            <a:ext cx="2761376" cy="1182877"/>
            <a:chOff x="5928754" y="2723978"/>
            <a:chExt cx="2761376" cy="1182877"/>
          </a:xfrm>
        </p:grpSpPr>
        <p:sp>
          <p:nvSpPr>
            <p:cNvPr id="19" name="Right Arrow 18"/>
            <p:cNvSpPr/>
            <p:nvPr/>
          </p:nvSpPr>
          <p:spPr bwMode="auto">
            <a:xfrm>
              <a:off x="5928754"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0" name="Freeform 19"/>
            <p:cNvSpPr/>
            <p:nvPr/>
          </p:nvSpPr>
          <p:spPr>
            <a:xfrm>
              <a:off x="6385072" y="3148537"/>
              <a:ext cx="758516" cy="758318"/>
            </a:xfrm>
            <a:custGeom>
              <a:avLst/>
              <a:gdLst>
                <a:gd name="connsiteX0" fmla="*/ 0 w 1035119"/>
                <a:gd name="connsiteY0" fmla="*/ 517560 h 1035119"/>
                <a:gd name="connsiteX1" fmla="*/ 517560 w 1035119"/>
                <a:gd name="connsiteY1" fmla="*/ 0 h 1035119"/>
                <a:gd name="connsiteX2" fmla="*/ 1035120 w 1035119"/>
                <a:gd name="connsiteY2" fmla="*/ 517560 h 1035119"/>
                <a:gd name="connsiteX3" fmla="*/ 517560 w 1035119"/>
                <a:gd name="connsiteY3" fmla="*/ 1035120 h 1035119"/>
                <a:gd name="connsiteX4" fmla="*/ 0 w 1035119"/>
                <a:gd name="connsiteY4" fmla="*/ 517560 h 10351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35119" h="1035119">
                  <a:moveTo>
                    <a:pt x="0" y="517560"/>
                  </a:moveTo>
                  <a:cubicBezTo>
                    <a:pt x="0" y="231720"/>
                    <a:pt x="231720" y="0"/>
                    <a:pt x="517560" y="0"/>
                  </a:cubicBezTo>
                  <a:cubicBezTo>
                    <a:pt x="803400" y="0"/>
                    <a:pt x="1035120" y="231720"/>
                    <a:pt x="1035120" y="517560"/>
                  </a:cubicBezTo>
                  <a:cubicBezTo>
                    <a:pt x="1035120" y="803400"/>
                    <a:pt x="803400" y="1035120"/>
                    <a:pt x="517560" y="1035120"/>
                  </a:cubicBezTo>
                  <a:cubicBezTo>
                    <a:pt x="231720" y="1035120"/>
                    <a:pt x="0" y="803400"/>
                    <a:pt x="0" y="517560"/>
                  </a:cubicBezTo>
                  <a:close/>
                </a:path>
              </a:pathLst>
            </a:custGeom>
            <a:solidFill>
              <a:schemeClr val="accent1"/>
            </a:solidFill>
            <a:ln>
              <a:no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Create Disk or</a:t>
              </a:r>
            </a:p>
            <a:p>
              <a:pPr algn="ctr" defTabSz="685318" fontAlgn="base">
                <a:lnSpc>
                  <a:spcPct val="90000"/>
                </a:lnSpc>
                <a:spcBef>
                  <a:spcPct val="0"/>
                </a:spcBef>
                <a:spcAft>
                  <a:spcPct val="0"/>
                </a:spcAft>
              </a:pPr>
              <a:r>
                <a:rPr lang="en-US" sz="1200" b="1" dirty="0">
                  <a:ln>
                    <a:solidFill>
                      <a:schemeClr val="bg1">
                        <a:alpha val="0"/>
                      </a:schemeClr>
                    </a:solidFill>
                  </a:ln>
                  <a:solidFill>
                    <a:schemeClr val="bg1">
                      <a:alpha val="99000"/>
                    </a:schemeClr>
                  </a:solidFill>
                </a:rPr>
                <a:t>Image</a:t>
              </a:r>
            </a:p>
          </p:txBody>
        </p:sp>
        <p:sp>
          <p:nvSpPr>
            <p:cNvPr id="21" name="Right Arrow 20"/>
            <p:cNvSpPr/>
            <p:nvPr/>
          </p:nvSpPr>
          <p:spPr bwMode="auto">
            <a:xfrm>
              <a:off x="7209858" y="3313051"/>
              <a:ext cx="408438"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86" tIns="34293" rIns="68586" bIns="34293"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
          <p:nvSpPr>
            <p:cNvPr id="22" name="Freeform 24"/>
            <p:cNvSpPr>
              <a:spLocks noEditPoints="1"/>
            </p:cNvSpPr>
            <p:nvPr/>
          </p:nvSpPr>
          <p:spPr bwMode="black">
            <a:xfrm>
              <a:off x="7700777" y="3222896"/>
              <a:ext cx="789227" cy="609600"/>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US"/>
            </a:p>
          </p:txBody>
        </p:sp>
        <p:sp>
          <p:nvSpPr>
            <p:cNvPr id="23" name="TextBox 22"/>
            <p:cNvSpPr txBox="1"/>
            <p:nvPr/>
          </p:nvSpPr>
          <p:spPr>
            <a:xfrm>
              <a:off x="7113771" y="2723978"/>
              <a:ext cx="1576359" cy="293168"/>
            </a:xfrm>
            <a:prstGeom prst="rect">
              <a:avLst/>
            </a:prstGeom>
            <a:noFill/>
            <a:ln w="9525" cap="flat" cmpd="sng" algn="ctr">
              <a:noFill/>
              <a:prstDash val="solid"/>
              <a:headEnd type="none" w="med" len="med"/>
              <a:tailEnd type="none" w="med" len="med"/>
            </a:ln>
            <a:effectLst/>
          </p:spPr>
          <p:txBody>
            <a:bodyPr vert="horz" wrap="square" lIns="0" tIns="0" rIns="0" bIns="0" numCol="1" rtlCol="0" anchor="ctr" anchorCtr="0" compatLnSpc="1">
              <a:prstTxWarp prst="textNoShape">
                <a:avLst/>
              </a:prstTxWarp>
              <a:noAutofit/>
            </a:bodyPr>
            <a:lstStyle>
              <a:defPPr>
                <a:defRPr lang="en-US"/>
              </a:defPPr>
              <a:lvl1pPr lvl="0">
                <a:lnSpc>
                  <a:spcPct val="90000"/>
                </a:lnSpc>
                <a:buSzPct val="90000"/>
                <a:defRPr sz="2200" kern="0">
                  <a:gradFill>
                    <a:gsLst>
                      <a:gs pos="85000">
                        <a:srgbClr val="FFFFFF"/>
                      </a:gs>
                      <a:gs pos="0">
                        <a:srgbClr val="FFFFFF"/>
                      </a:gs>
                    </a:gsLst>
                    <a:lin ang="5400000" scaled="0"/>
                  </a:gradFill>
                  <a:latin typeface="Segoe UI Light" pitchFamily="34" charset="0"/>
                  <a:ea typeface="Segoe UI" pitchFamily="34" charset="0"/>
                  <a:cs typeface="Segoe UI" pitchFamily="34" charset="0"/>
                </a:defRPr>
              </a:lvl1pPr>
            </a:lstStyle>
            <a:p>
              <a:pPr algn="ctr"/>
              <a:r>
                <a:rPr lang="en-US" sz="1400" dirty="0">
                  <a:solidFill>
                    <a:schemeClr val="tx2">
                      <a:alpha val="99000"/>
                    </a:schemeClr>
                  </a:solidFill>
                  <a:latin typeface="+mn-lt"/>
                </a:rPr>
                <a:t>Provision VM from Image or Disk using portal, script or API</a:t>
              </a:r>
            </a:p>
          </p:txBody>
        </p:sp>
      </p:grpSp>
      <p:sp>
        <p:nvSpPr>
          <p:cNvPr id="24" name="Content Placeholder 9"/>
          <p:cNvSpPr txBox="1">
            <a:spLocks/>
          </p:cNvSpPr>
          <p:nvPr>
            <p:custDataLst>
              <p:tags r:id="rId1"/>
            </p:custDataLst>
          </p:nvPr>
        </p:nvSpPr>
        <p:spPr>
          <a:xfrm>
            <a:off x="478725" y="3028765"/>
            <a:ext cx="2493076" cy="1194173"/>
          </a:xfrm>
          <a:prstGeom prst="rect">
            <a:avLst/>
          </a:prstGeom>
        </p:spPr>
        <p:txBody>
          <a:bodyPr vert="horz" wrap="square" lIns="0" tIns="0" rIns="0" bIns="0" rtlCol="0">
            <a:spAutoFit/>
          </a:bodyPr>
          <a:lstStyle>
            <a:lvl1pPr marL="344488" indent="-344488" algn="l" defTabSz="914363" rtl="0" eaLnBrk="1" latinLnBrk="0" hangingPunct="1">
              <a:lnSpc>
                <a:spcPct val="100000"/>
              </a:lnSpc>
              <a:spcBef>
                <a:spcPts val="1200"/>
              </a:spcBef>
              <a:buSzPct val="80000"/>
              <a:buFont typeface="Arial" pitchFamily="34" charset="0"/>
              <a:buChar char="•"/>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01688" indent="-341313" algn="l" defTabSz="914363" rtl="0" eaLnBrk="1" latinLnBrk="0" hangingPunct="1">
              <a:lnSpc>
                <a:spcPct val="100000"/>
              </a:lnSpc>
              <a:spcBef>
                <a:spcPts val="300"/>
              </a:spcBef>
              <a:buSzPct val="80000"/>
              <a:buFont typeface="Arial" pitchFamily="34" charset="0"/>
              <a:buChar char="•"/>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58888" indent="-344488" algn="l" defTabSz="914363" rtl="0" eaLnBrk="1" latinLnBrk="0" hangingPunct="1">
              <a:lnSpc>
                <a:spcPct val="100000"/>
              </a:lnSpc>
              <a:spcBef>
                <a:spcPts val="300"/>
              </a:spcBef>
              <a:buSzPct val="80000"/>
              <a:buFont typeface="Arial" pitchFamily="34" charset="0"/>
              <a:buChar char="•"/>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16088" indent="-346075"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173288" indent="-336550" algn="l" defTabSz="914363" rtl="0" eaLnBrk="1" latinLnBrk="0" hangingPunct="1">
              <a:lnSpc>
                <a:spcPct val="100000"/>
              </a:lnSpc>
              <a:spcBef>
                <a:spcPts val="300"/>
              </a:spcBef>
              <a:buSzPct val="80000"/>
              <a:buFont typeface="Arial" pitchFamily="34" charset="0"/>
              <a:buChar char="•"/>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spcBef>
                <a:spcPts val="600"/>
              </a:spcBef>
              <a:buNone/>
            </a:pPr>
            <a:r>
              <a:rPr lang="en-US" sz="1400" dirty="0">
                <a:solidFill>
                  <a:schemeClr val="tx2">
                    <a:alpha val="99000"/>
                  </a:schemeClr>
                </a:solidFill>
              </a:rPr>
              <a:t>Use Case</a:t>
            </a:r>
          </a:p>
          <a:p>
            <a:pPr marL="174597" indent="-174597">
              <a:lnSpc>
                <a:spcPct val="90000"/>
              </a:lnSpc>
              <a:spcBef>
                <a:spcPts val="600"/>
              </a:spcBef>
            </a:pPr>
            <a:r>
              <a:rPr lang="en-US" sz="1200" dirty="0">
                <a:solidFill>
                  <a:schemeClr val="tx2">
                    <a:alpha val="99000"/>
                  </a:schemeClr>
                </a:solidFill>
              </a:rPr>
              <a:t>Forklift Migration of VMs</a:t>
            </a:r>
          </a:p>
          <a:p>
            <a:pPr marL="174597" indent="-174597">
              <a:lnSpc>
                <a:spcPct val="90000"/>
              </a:lnSpc>
              <a:spcBef>
                <a:spcPts val="600"/>
              </a:spcBef>
            </a:pPr>
            <a:r>
              <a:rPr lang="en-US" sz="1200" dirty="0">
                <a:solidFill>
                  <a:schemeClr val="tx2">
                    <a:alpha val="99000"/>
                  </a:schemeClr>
                </a:solidFill>
              </a:rPr>
              <a:t>Sys Prepped Images</a:t>
            </a:r>
          </a:p>
          <a:p>
            <a:pPr marL="0" indent="0">
              <a:lnSpc>
                <a:spcPct val="90000"/>
              </a:lnSpc>
              <a:spcBef>
                <a:spcPts val="600"/>
              </a:spcBef>
              <a:buNone/>
            </a:pPr>
            <a:r>
              <a:rPr lang="en-US" sz="1400" dirty="0">
                <a:solidFill>
                  <a:schemeClr val="tx2">
                    <a:alpha val="99000"/>
                  </a:schemeClr>
                </a:solidFill>
              </a:rPr>
              <a:t>VHD Must Be Fixed Disk </a:t>
            </a:r>
          </a:p>
          <a:p>
            <a:pPr marL="0" indent="0">
              <a:lnSpc>
                <a:spcPct val="90000"/>
              </a:lnSpc>
              <a:spcBef>
                <a:spcPts val="600"/>
              </a:spcBef>
              <a:buNone/>
            </a:pPr>
            <a:r>
              <a:rPr lang="en-US" sz="1200" dirty="0">
                <a:solidFill>
                  <a:schemeClr val="tx2">
                    <a:alpha val="99000"/>
                  </a:schemeClr>
                </a:solidFill>
              </a:rPr>
              <a:t>* </a:t>
            </a:r>
            <a:r>
              <a:rPr lang="en-US" sz="1200" dirty="0" err="1">
                <a:solidFill>
                  <a:schemeClr val="tx2">
                    <a:alpha val="99000"/>
                  </a:schemeClr>
                </a:solidFill>
              </a:rPr>
              <a:t>CSUpload</a:t>
            </a:r>
            <a:r>
              <a:rPr lang="en-US" sz="1200" dirty="0">
                <a:solidFill>
                  <a:schemeClr val="tx2">
                    <a:alpha val="99000"/>
                  </a:schemeClr>
                </a:solidFill>
              </a:rPr>
              <a:t> Can Convert on Upload</a:t>
            </a:r>
          </a:p>
        </p:txBody>
      </p:sp>
      <p:sp>
        <p:nvSpPr>
          <p:cNvPr id="17" name="Right Arrow 16"/>
          <p:cNvSpPr/>
          <p:nvPr/>
        </p:nvSpPr>
        <p:spPr bwMode="auto">
          <a:xfrm>
            <a:off x="4058004" y="3313051"/>
            <a:ext cx="971199" cy="429290"/>
          </a:xfrm>
          <a:prstGeom prst="rightArrow">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68574" tIns="34288" rIns="68574" bIns="34288" numCol="1" rtlCol="0" anchor="ctr" anchorCtr="0" compatLnSpc="1">
            <a:prstTxWarp prst="textNoShape">
              <a:avLst/>
            </a:prstTxWarp>
          </a:bodyPr>
          <a:lstStyle/>
          <a:p>
            <a:pPr algn="ctr" defTabSz="685552" fontAlgn="base">
              <a:spcBef>
                <a:spcPts val="150"/>
              </a:spcBef>
              <a:spcAft>
                <a:spcPct val="0"/>
              </a:spcAft>
            </a:pPr>
            <a:endParaRPr lang="en-US" sz="2100" dirty="0">
              <a:ln>
                <a:solidFill>
                  <a:schemeClr val="bg1">
                    <a:alpha val="0"/>
                  </a:schemeClr>
                </a:solidFill>
              </a:ln>
              <a:solidFill>
                <a:schemeClr val="bg1"/>
              </a:solidFill>
            </a:endParaRPr>
          </a:p>
        </p:txBody>
      </p:sp>
    </p:spTree>
    <p:extLst>
      <p:ext uri="{BB962C8B-B14F-4D97-AF65-F5344CB8AC3E}">
        <p14:creationId xmlns:p14="http://schemas.microsoft.com/office/powerpoint/2010/main" val="166634518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26"/>
                                        </p:tgtEl>
                                        <p:attrNameLst>
                                          <p:attrName>style.visibility</p:attrName>
                                        </p:attrNameLst>
                                      </p:cBhvr>
                                      <p:to>
                                        <p:strVal val="visible"/>
                                      </p:to>
                                    </p:set>
                                    <p:animEffect transition="in" filter="fade">
                                      <p:cBhvr>
                                        <p:cTn id="20"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cE5ol9oykKo076q.tcMq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aM17zx5OyEm3N6If4Z6eS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gPlPD9p_kEmuhPuNSNSO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rKWxCPQxkeOMkhyHMse5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4gIDtfgwdEmF4SKITbTJk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yj0xWzMYUmB5K3f2dPUo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HuB44zhXBEWAmU6Nk2Sth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806JajCK8EC2EROTm8p3v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RwPO8jxEUiA7fUgqNv10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7TQBLwN7JUqZ50IxKG9wQ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DKASeTqgY0ONIjCRmhAdq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pZcFO9I.0qHKpQYchVsv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OATtRzhzEGfEASLaOqmG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8.xGrdItlk28IM1BKgbeT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2.VsuBQaKESO3pDLox_Dy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_IEFF_4T0WppEVyI2v_a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teiN2v0ME6nhkNliWLD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IQNeDWAPkUquYlSaquy_og"/>
</p:tagLst>
</file>

<file path=ppt/tags/tag86.xml><?xml version="1.0" encoding="utf-8"?>
<p:tagLst xmlns:a="http://schemas.openxmlformats.org/drawingml/2006/main" xmlns:r="http://schemas.openxmlformats.org/officeDocument/2006/relationships" xmlns:p="http://schemas.openxmlformats.org/presentationml/2006/main">
  <p:tag name="TIMING" val="|.8|20.6|11.1"/>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3L3swBQBkE2skIx0Ya5cgA"/>
</p:tagLst>
</file>

<file path=ppt/theme/_rels/theme1.xml.rels><?xml version="1.0" encoding="UTF-8" standalone="yes"?>
<Relationships xmlns="http://schemas.openxmlformats.org/package/2006/relationships"><Relationship Id="rId1" Type="http://schemas.openxmlformats.org/officeDocument/2006/relationships/image" Target="../media/image1.png"/></Relationships>
</file>

<file path=ppt/theme/_rels/theme3.xml.rels><?xml version="1.0" encoding="UTF-8" standalone="yes"?>
<Relationships xmlns="http://schemas.openxmlformats.org/package/2006/relationships"><Relationship Id="rId1" Type="http://schemas.openxmlformats.org/officeDocument/2006/relationships/image" Target="../media/image1.png"/></Relationships>
</file>

<file path=ppt/theme/_rels/theme4.xml.rels><?xml version="1.0" encoding="UTF-8" standalone="yes"?>
<Relationships xmlns="http://schemas.openxmlformats.org/package/2006/relationships"><Relationship Id="rId1" Type="http://schemas.openxmlformats.org/officeDocument/2006/relationships/image" Target="../media/image1.png"/></Relationships>
</file>

<file path=ppt/theme/_rels/theme5.xml.rels><?xml version="1.0" encoding="UTF-8" standalone="yes"?>
<Relationships xmlns="http://schemas.openxmlformats.org/package/2006/relationships"><Relationship Id="rId1" Type="http://schemas.openxmlformats.org/officeDocument/2006/relationships/image" Target="../media/image1.png"/></Relationships>
</file>

<file path=ppt/theme/_rels/theme6.xml.rels><?xml version="1.0" encoding="UTF-8" standalone="yes"?>
<Relationships xmlns="http://schemas.openxmlformats.org/package/2006/relationships"><Relationship Id="rId1" Type="http://schemas.openxmlformats.org/officeDocument/2006/relationships/image" Target="../media/image1.png"/></Relationships>
</file>

<file path=ppt/theme/_rels/theme7.xml.rels><?xml version="1.0" encoding="UTF-8" standalone="yes"?>
<Relationships xmlns="http://schemas.openxmlformats.org/package/2006/relationships"><Relationship Id="rId1" Type="http://schemas.openxmlformats.org/officeDocument/2006/relationships/image" Target="../media/image1.png"/></Relationships>
</file>

<file path=ppt/theme/theme1.xml><?xml version="1.0" encoding="utf-8"?>
<a:theme xmlns:a="http://schemas.openxmlformats.org/drawingml/2006/main" name="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Custom 12">
      <a:dk1>
        <a:srgbClr val="292929"/>
      </a:dk1>
      <a:lt1>
        <a:srgbClr val="FFFFFF"/>
      </a:lt1>
      <a:dk2>
        <a:srgbClr val="5F5F5F"/>
      </a:dk2>
      <a:lt2>
        <a:srgbClr val="DDDDDD"/>
      </a:lt2>
      <a:accent1>
        <a:srgbClr val="FFBE00"/>
      </a:accent1>
      <a:accent2>
        <a:srgbClr val="00AEEF"/>
      </a:accent2>
      <a:accent3>
        <a:srgbClr val="910091"/>
      </a:accent3>
      <a:accent4>
        <a:srgbClr val="00A600"/>
      </a:accent4>
      <a:accent5>
        <a:srgbClr val="FF0000"/>
      </a:accent5>
      <a:accent6>
        <a:srgbClr val="0071BC"/>
      </a:accent6>
      <a:hlink>
        <a:srgbClr val="0000A6"/>
      </a:hlink>
      <a:folHlink>
        <a:srgbClr val="0071BC"/>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a">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2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6.xml><?xml version="1.0" encoding="utf-8"?>
<a:theme xmlns:a="http://schemas.openxmlformats.org/drawingml/2006/main" name="3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7.xml><?xml version="1.0" encoding="utf-8"?>
<a:theme xmlns:a="http://schemas.openxmlformats.org/drawingml/2006/main" name="4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8.xml><?xml version="1.0" encoding="utf-8"?>
<a:theme xmlns:a="http://schemas.openxmlformats.org/drawingml/2006/main" name="Windows_Azure_DevCamp_16x9_Template - FINAL2">
  <a:themeElements>
    <a:clrScheme name="DevCamp-Template">
      <a:dk1>
        <a:srgbClr val="5F5F5F"/>
      </a:dk1>
      <a:lt1>
        <a:srgbClr val="FFFFFF"/>
      </a:lt1>
      <a:dk2>
        <a:srgbClr val="0071BC"/>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err="1" smtClean="0">
            <a:gradFill>
              <a:gsLst>
                <a:gs pos="2917">
                  <a:schemeClr val="tx1"/>
                </a:gs>
                <a:gs pos="30000">
                  <a:schemeClr val="tx1"/>
                </a:gs>
              </a:gsLst>
              <a:lin ang="5400000" scaled="0"/>
            </a:gradFill>
          </a:defRPr>
        </a:defPPr>
      </a:lstStyle>
    </a:tx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BOM_x002f_Launch_x0020_Alignment xmlns="f847e7ad-bfae-49c8-aedd-39ec05321f40">1</BOM_x002f_Launch_x0020_Alignment>
    <Scenario xmlns="f847e7ad-bfae-49c8-aedd-39ec05321f40" xsi:nil="true"/>
    <Document_x0020_Owner xmlns="f847e7ad-bfae-49c8-aedd-39ec05321f40">
      <UserInfo>
        <DisplayName>Craig Kitterman</DisplayName>
        <AccountId>198</AccountId>
        <AccountType/>
      </UserInfo>
    </Document_x0020_Owner>
    <Capability_x002f_Product xmlns="f847e7ad-bfae-49c8-aedd-39ec05321f40">16</Capability_x002f_Product>
    <Workstream xmlns="f847e7ad-bfae-49c8-aedd-39ec05321f40">17</Workstream>
    <Source xmlns="f847e7ad-bfae-49c8-aedd-39ec05321f40">6</Source>
    <Document_x0020_Status xmlns="f847e7ad-bfae-49c8-aedd-39ec05321f40">Draft</Document_x0020_Status>
    <Segment xmlns="f847e7ad-bfae-49c8-aedd-39ec05321f40">5</Segment>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CC49BF387DC003468EAA8A737C6FDB0C" ma:contentTypeVersion="22" ma:contentTypeDescription="Create a new document." ma:contentTypeScope="" ma:versionID="8cf14e336f8a3faf9a233abecfca95fe">
  <xsd:schema xmlns:xsd="http://www.w3.org/2001/XMLSchema" xmlns:xs="http://www.w3.org/2001/XMLSchema" xmlns:p="http://schemas.microsoft.com/office/2006/metadata/properties" xmlns:ns2="f847e7ad-bfae-49c8-aedd-39ec05321f40" targetNamespace="http://schemas.microsoft.com/office/2006/metadata/properties" ma:root="true" ma:fieldsID="8ff83141a414909d04eb23ab95548eed" ns2:_="">
    <xsd:import namespace="f847e7ad-bfae-49c8-aedd-39ec05321f40"/>
    <xsd:element name="properties">
      <xsd:complexType>
        <xsd:sequence>
          <xsd:element name="documentManagement">
            <xsd:complexType>
              <xsd:all>
                <xsd:element ref="ns2:Segment"/>
                <xsd:element ref="ns2:Workstream"/>
                <xsd:element ref="ns2:Capability_x002f_Product"/>
                <xsd:element ref="ns2:Source"/>
                <xsd:element ref="ns2:Document_x0020_Owner"/>
                <xsd:element ref="ns2:Document_x0020_Status" minOccurs="0"/>
                <xsd:element ref="ns2:Scenario" minOccurs="0"/>
                <xsd:element ref="ns2:BOM_x002f_Launch_x0020_Alignme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47e7ad-bfae-49c8-aedd-39ec05321f40" elementFormDefault="qualified">
    <xsd:import namespace="http://schemas.microsoft.com/office/2006/documentManagement/types"/>
    <xsd:import namespace="http://schemas.microsoft.com/office/infopath/2007/PartnerControls"/>
    <xsd:element name="Segment" ma:index="2" ma:displayName="Segment (Primary)" ma:list="{709e561d-3cc9-45bc-862d-0bd6fb02d30d}" ma:internalName="Segment" ma:readOnly="false" ma:showField="Title">
      <xsd:simpleType>
        <xsd:restriction base="dms:Lookup"/>
      </xsd:simpleType>
    </xsd:element>
    <xsd:element name="Workstream" ma:index="3" ma:displayName="Workstream (Primary)" ma:list="{528e3fe1-95a0-45e2-8485-7cf9ffbd34e3}" ma:internalName="Workstream" ma:readOnly="false" ma:showField="Title">
      <xsd:simpleType>
        <xsd:restriction base="dms:Lookup"/>
      </xsd:simpleType>
    </xsd:element>
    <xsd:element name="Capability_x002f_Product" ma:index="4" ma:displayName="Capability/Product (Primary)" ma:list="{86df3880-be69-47cc-bf1c-7c36ee20b550}" ma:internalName="Capability_x002f_Product" ma:readOnly="false" ma:showField="Title">
      <xsd:simpleType>
        <xsd:restriction base="dms:Lookup"/>
      </xsd:simpleType>
    </xsd:element>
    <xsd:element name="Source" ma:index="5" ma:displayName="Source" ma:list="{c848aa0f-2631-4698-86e2-7e174e1ddeb4}" ma:internalName="Source" ma:showField="Title">
      <xsd:simpleType>
        <xsd:restriction base="dms:Lookup"/>
      </xsd:simpleType>
    </xsd:element>
    <xsd:element name="Document_x0020_Owner" ma:index="6" ma:displayName="Document Owner" ma:description="Who is the owner of this document and contact for questions or updates?" ma:list="UserInfo" ma:SharePointGroup="0" ma:internalName="Document_x0020_Owner" ma:readOnly="false" ma:showField="Title">
      <xsd:complexType>
        <xsd:complexContent>
          <xsd:extension base="dms:User">
            <xsd:sequence>
              <xsd:element name="UserInfo" minOccurs="0" maxOccurs="unbounded">
                <xsd:complexType>
                  <xsd:sequence>
                    <xsd:element name="DisplayName" type="xsd:string" minOccurs="0"/>
                    <xsd:element name="AccountId" type="dms:UserId" minOccurs="0"/>
                    <xsd:element name="AccountType" type="xsd:string" minOccurs="0"/>
                  </xsd:sequence>
                </xsd:complexType>
              </xsd:element>
            </xsd:sequence>
          </xsd:extension>
        </xsd:complexContent>
      </xsd:complexType>
    </xsd:element>
    <xsd:element name="Document_x0020_Status" ma:index="7" nillable="true" ma:displayName="Document Status" ma:default="Draft" ma:format="Dropdown" ma:internalName="Document_x0020_Status">
      <xsd:simpleType>
        <xsd:restriction base="dms:Choice">
          <xsd:enumeration value="Draft"/>
          <xsd:enumeration value="Final"/>
        </xsd:restriction>
      </xsd:simpleType>
    </xsd:element>
    <xsd:element name="Scenario" ma:index="14" nillable="true" ma:displayName="Scenario" ma:list="{272ba480-a202-40fe-88de-6b04d2a45ecb}" ma:internalName="Scenario" ma:showField="Title">
      <xsd:simpleType>
        <xsd:restriction base="dms:Lookup"/>
      </xsd:simpleType>
    </xsd:element>
    <xsd:element name="BOM_x002f_Launch_x0020_Alignment" ma:index="15" nillable="true" ma:displayName="BOM/Launch Alignment" ma:list="{13d9adb4-6e76-4c45-81f7-a1ca8335e509}" ma:internalName="BOM_x002f_Launch_x0020_Alignment" ma:showField="Title">
      <xsd:simpleType>
        <xsd:restriction base="dms:Lookup"/>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0"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B64BB9-3772-44C2-82F4-DBB5E8349B07}">
  <ds:schemaRefs>
    <ds:schemaRef ds:uri="http://schemas.microsoft.com/sharepoint/v3/contenttype/forms"/>
  </ds:schemaRefs>
</ds:datastoreItem>
</file>

<file path=customXml/itemProps2.xml><?xml version="1.0" encoding="utf-8"?>
<ds:datastoreItem xmlns:ds="http://schemas.openxmlformats.org/officeDocument/2006/customXml" ds:itemID="{F8CF69C5-0497-4CBF-B135-F09D219CA3FA}">
  <ds:schemaRefs>
    <ds:schemaRef ds:uri="http://schemas.microsoft.com/office/2006/metadata/properties"/>
    <ds:schemaRef ds:uri="http://schemas.microsoft.com/office/2006/documentManagement/types"/>
    <ds:schemaRef ds:uri="f847e7ad-bfae-49c8-aedd-39ec05321f40"/>
    <ds:schemaRef ds:uri="http://purl.org/dc/elements/1.1/"/>
    <ds:schemaRef ds:uri="http://schemas.microsoft.com/office/infopath/2007/PartnerControls"/>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E70E8EBC-47BF-4C09-885E-AE915D5F7DD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47e7ad-bfae-49c8-aedd-39ec05321f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MS1444_Windows Azure Template 16x9_r08b</Template>
  <TotalTime>9189</TotalTime>
  <Words>4066</Words>
  <Application>Microsoft Office PowerPoint</Application>
  <PresentationFormat>On-screen Show (16:9)</PresentationFormat>
  <Paragraphs>855</Paragraphs>
  <Slides>52</Slides>
  <Notes>52</Notes>
  <HiddenSlides>0</HiddenSlides>
  <MMClips>0</MMClips>
  <ScaleCrop>false</ScaleCrop>
  <HeadingPairs>
    <vt:vector size="8" baseType="variant">
      <vt:variant>
        <vt:lpstr>Fonts Used</vt:lpstr>
      </vt:variant>
      <vt:variant>
        <vt:i4>8</vt:i4>
      </vt:variant>
      <vt:variant>
        <vt:lpstr>Theme</vt:lpstr>
      </vt:variant>
      <vt:variant>
        <vt:i4>8</vt:i4>
      </vt:variant>
      <vt:variant>
        <vt:lpstr>Embedded OLE Servers</vt:lpstr>
      </vt:variant>
      <vt:variant>
        <vt:i4>1</vt:i4>
      </vt:variant>
      <vt:variant>
        <vt:lpstr>Slide Titles</vt:lpstr>
      </vt:variant>
      <vt:variant>
        <vt:i4>52</vt:i4>
      </vt:variant>
    </vt:vector>
  </HeadingPairs>
  <TitlesOfParts>
    <vt:vector size="69" baseType="lpstr">
      <vt:lpstr>Arial</vt:lpstr>
      <vt:lpstr>Calibri</vt:lpstr>
      <vt:lpstr>Consolas</vt:lpstr>
      <vt:lpstr>Segoe</vt:lpstr>
      <vt:lpstr>Segoe Light</vt:lpstr>
      <vt:lpstr>Segoe UI</vt:lpstr>
      <vt:lpstr>Segoe UI Light</vt:lpstr>
      <vt:lpstr>Wingdings</vt:lpstr>
      <vt:lpstr>MS1444_Windows Azure Template 16x9_r08b</vt:lpstr>
      <vt:lpstr>White with Consolas font for code slides</vt:lpstr>
      <vt:lpstr>1_MS1444_Windows Azure Template 16x9_r08a</vt:lpstr>
      <vt:lpstr>1_MS1444_Windows Azure Template 16x9_r08b</vt:lpstr>
      <vt:lpstr>2_MS1444_Windows Azure Template 16x9_r08b</vt:lpstr>
      <vt:lpstr>3_MS1444_Windows Azure Template 16x9_r08b</vt:lpstr>
      <vt:lpstr>4_MS1444_Windows Azure Template 16x9_r08b</vt:lpstr>
      <vt:lpstr>Windows_Azure_DevCamp_16x9_Template - FINAL2</vt:lpstr>
      <vt:lpstr>think-cell Slide</vt:lpstr>
      <vt:lpstr>Windows Azure Virtual Machines</vt:lpstr>
      <vt:lpstr>A Continuous Offering    From Private to     Public Cloud </vt:lpstr>
      <vt:lpstr>Windows Azure Virtual Machines</vt:lpstr>
      <vt:lpstr>IaaS Workloads – all about the app</vt:lpstr>
      <vt:lpstr>Virtual Machine vs VM Role</vt:lpstr>
      <vt:lpstr>Images Available at Preview</vt:lpstr>
      <vt:lpstr>PowerPoint Presentation</vt:lpstr>
      <vt:lpstr>Cloud First Provisioning</vt:lpstr>
      <vt:lpstr>Bring Your Own Server/VHD</vt:lpstr>
      <vt:lpstr>Imaging VMs in the Cloud</vt:lpstr>
      <vt:lpstr>Image Mobility</vt:lpstr>
      <vt:lpstr>Disks and Images</vt:lpstr>
      <vt:lpstr>Persistent Disk Management</vt:lpstr>
      <vt:lpstr>Persistent Disks and Highly Durable</vt:lpstr>
      <vt:lpstr>Persistent Disks and Highly Durable</vt:lpstr>
      <vt:lpstr>Virtual Machine Sizes</vt:lpstr>
      <vt:lpstr>Disk Caching</vt:lpstr>
      <vt:lpstr>VM Management and Automation</vt:lpstr>
      <vt:lpstr>Scripting Capabilities</vt:lpstr>
      <vt:lpstr>Demo</vt:lpstr>
      <vt:lpstr>PowerPoint Presentation</vt:lpstr>
      <vt:lpstr>Cloud Services, Roles and Instances Cloud Service is a management, configuration, security, networking and service model boundary</vt:lpstr>
      <vt:lpstr>Virtual Machines Virtual Machines are roles with exactly one instance </vt:lpstr>
      <vt:lpstr>Cloud Services with Virtual Machines Multiple Virtual Machines can be hosted within the same cloud service </vt:lpstr>
      <vt:lpstr>PowerPoint Presentation</vt:lpstr>
      <vt:lpstr>Virtual Machine Names and DNS</vt:lpstr>
      <vt:lpstr>Protocols and Endpoints</vt:lpstr>
      <vt:lpstr>Port Forwarding Input Endpoints</vt:lpstr>
      <vt:lpstr>Load Balanced Sets</vt:lpstr>
      <vt:lpstr>Load Balancer Custom Probes</vt:lpstr>
      <vt:lpstr>PowerPoint Presentation</vt:lpstr>
      <vt:lpstr>Service Level Agreements </vt:lpstr>
      <vt:lpstr>Fault and Update Domains</vt:lpstr>
      <vt:lpstr>Fault and Update Domains</vt:lpstr>
      <vt:lpstr>Virtual Machine Availability Sets Update Domains are honored by host OS updates</vt:lpstr>
      <vt:lpstr>How Does this Relate to SLA?</vt:lpstr>
      <vt:lpstr>End to End Highly Available Solution</vt:lpstr>
      <vt:lpstr>Demo</vt:lpstr>
      <vt:lpstr>PowerPoint Presentation</vt:lpstr>
      <vt:lpstr>Cross-premise Connectivity</vt:lpstr>
      <vt:lpstr>Windows Azure Virtual Network</vt:lpstr>
      <vt:lpstr>Virtual Networks Scenarios</vt:lpstr>
      <vt:lpstr>Does Your App Need a Virtual Network?</vt:lpstr>
      <vt:lpstr>Supported VPN Device List</vt:lpstr>
      <vt:lpstr>IaaS and PaaS   – Better Together</vt:lpstr>
      <vt:lpstr>The Benefits of PaaS </vt:lpstr>
      <vt:lpstr>IaaS and PaaS Side by Side</vt:lpstr>
      <vt:lpstr>Connecting Applications and VMs</vt:lpstr>
      <vt:lpstr>Connecting Cloud Services with VNET</vt:lpstr>
      <vt:lpstr>Demo</vt:lpstr>
      <vt:lpstr>Summary</vt:lpstr>
      <vt:lpstr>PowerPoint Presentation</vt:lpstr>
    </vt:vector>
  </TitlesOfParts>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indows Azure Virtual Machines</dc:title>
  <dc:creator>Michael Washam</dc:creator>
  <dc:description>Comprehensive presentation that introduces the technical concepts and business value of Windows Azure Virtual Machines and Virtual Networks
by Michael Washammwasham@microsoft.com</dc:description>
  <cp:lastModifiedBy>Andrew P. Westgarth</cp:lastModifiedBy>
  <cp:revision>624</cp:revision>
  <cp:lastPrinted>2012-06-13T17:37:07Z</cp:lastPrinted>
  <dcterms:created xsi:type="dcterms:W3CDTF">2006-08-16T00:00:00Z</dcterms:created>
  <dcterms:modified xsi:type="dcterms:W3CDTF">2013-01-13T20:09:15Z</dcterms:modified>
  <cp:version>1.0.3</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C49BF387DC003468EAA8A737C6FDB0C</vt:lpwstr>
  </property>
</Properties>
</file>